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1.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5" r:id="rId3"/>
    <p:sldMasterId id="2147483697" r:id="rId4"/>
  </p:sldMasterIdLst>
  <p:notesMasterIdLst>
    <p:notesMasterId r:id="rId21"/>
  </p:notesMasterIdLst>
  <p:sldIdLst>
    <p:sldId id="373" r:id="rId5"/>
    <p:sldId id="428" r:id="rId6"/>
    <p:sldId id="449" r:id="rId7"/>
    <p:sldId id="450" r:id="rId8"/>
    <p:sldId id="451" r:id="rId9"/>
    <p:sldId id="448" r:id="rId10"/>
    <p:sldId id="441" r:id="rId11"/>
    <p:sldId id="437" r:id="rId12"/>
    <p:sldId id="439" r:id="rId13"/>
    <p:sldId id="440" r:id="rId14"/>
    <p:sldId id="445" r:id="rId15"/>
    <p:sldId id="442" r:id="rId16"/>
    <p:sldId id="443" r:id="rId17"/>
    <p:sldId id="444" r:id="rId18"/>
    <p:sldId id="447" r:id="rId19"/>
    <p:sldId id="446"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6600" userDrawn="1">
          <p15:clr>
            <a:srgbClr val="A4A3A4"/>
          </p15:clr>
        </p15:guide>
        <p15:guide id="3" orient="horz" pos="3264" userDrawn="1">
          <p15:clr>
            <a:srgbClr val="A4A3A4"/>
          </p15:clr>
        </p15:guide>
        <p15:guide id="4" orient="horz" pos="192" userDrawn="1">
          <p15:clr>
            <a:srgbClr val="A4A3A4"/>
          </p15:clr>
        </p15:guide>
        <p15:guide id="5" pos="211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E0F3"/>
    <a:srgbClr val="BA1C82"/>
    <a:srgbClr val="A32084"/>
    <a:srgbClr val="3F136C"/>
    <a:srgbClr val="2C448F"/>
    <a:srgbClr val="A8016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728" autoAdjust="0"/>
    <p:restoredTop sz="92006" autoAdjust="0"/>
  </p:normalViewPr>
  <p:slideViewPr>
    <p:cSldViewPr snapToGrid="0">
      <p:cViewPr varScale="1">
        <p:scale>
          <a:sx n="116" d="100"/>
          <a:sy n="116" d="100"/>
        </p:scale>
        <p:origin x="636" y="84"/>
      </p:cViewPr>
      <p:guideLst>
        <p:guide pos="6600"/>
        <p:guide orient="horz" pos="3264"/>
        <p:guide orient="horz" pos="192"/>
        <p:guide pos="211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547205-6E44-44D3-A514-29A5106CD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6DDBBC4-B6F1-4F2E-9A99-A932469FD616}">
      <dgm:prSet phldrT="[Text]"/>
      <dgm:spPr/>
      <dgm:t>
        <a:bodyPr/>
        <a:lstStyle/>
        <a:p>
          <a:r>
            <a:rPr lang="en-US" dirty="0" smtClean="0"/>
            <a:t>Object Detection</a:t>
          </a:r>
          <a:endParaRPr lang="en-US" dirty="0"/>
        </a:p>
      </dgm:t>
    </dgm:pt>
    <dgm:pt modelId="{9F85B84C-3802-4DA5-8BB6-103405D669F0}" type="parTrans" cxnId="{CE4B1708-3167-411A-83D9-A7E5C339330A}">
      <dgm:prSet/>
      <dgm:spPr/>
      <dgm:t>
        <a:bodyPr/>
        <a:lstStyle/>
        <a:p>
          <a:endParaRPr lang="en-US"/>
        </a:p>
      </dgm:t>
    </dgm:pt>
    <dgm:pt modelId="{A956A055-FD14-4F57-AD87-22A529D07445}" type="sibTrans" cxnId="{CE4B1708-3167-411A-83D9-A7E5C339330A}">
      <dgm:prSet/>
      <dgm:spPr/>
      <dgm:t>
        <a:bodyPr/>
        <a:lstStyle/>
        <a:p>
          <a:endParaRPr lang="en-US"/>
        </a:p>
      </dgm:t>
    </dgm:pt>
    <dgm:pt modelId="{2FBBD9D6-1C6F-4AC0-BCA0-21095022D9AC}">
      <dgm:prSet phldrT="[Text]"/>
      <dgm:spPr/>
      <dgm:t>
        <a:bodyPr/>
        <a:lstStyle/>
        <a:p>
          <a:r>
            <a:rPr lang="en-US" dirty="0" smtClean="0"/>
            <a:t>Segmentation</a:t>
          </a:r>
          <a:endParaRPr lang="en-US" dirty="0"/>
        </a:p>
      </dgm:t>
    </dgm:pt>
    <dgm:pt modelId="{9F0883A7-06A0-4FE8-B325-0BA46EBFF5A0}" type="parTrans" cxnId="{726B182B-68F0-43BA-927E-D9272748F76D}">
      <dgm:prSet/>
      <dgm:spPr/>
      <dgm:t>
        <a:bodyPr/>
        <a:lstStyle/>
        <a:p>
          <a:endParaRPr lang="en-US"/>
        </a:p>
      </dgm:t>
    </dgm:pt>
    <dgm:pt modelId="{E71A4905-84F2-4312-9FAC-653E653853D5}" type="sibTrans" cxnId="{726B182B-68F0-43BA-927E-D9272748F76D}">
      <dgm:prSet/>
      <dgm:spPr/>
      <dgm:t>
        <a:bodyPr/>
        <a:lstStyle/>
        <a:p>
          <a:endParaRPr lang="en-US"/>
        </a:p>
      </dgm:t>
    </dgm:pt>
    <dgm:pt modelId="{5C43770E-DD7F-49A3-AB63-D5EC9CDFE251}">
      <dgm:prSet phldrT="[Text]"/>
      <dgm:spPr/>
      <dgm:t>
        <a:bodyPr/>
        <a:lstStyle/>
        <a:p>
          <a:r>
            <a:rPr lang="en-US" dirty="0" smtClean="0"/>
            <a:t>Tracking</a:t>
          </a:r>
          <a:endParaRPr lang="en-US" dirty="0"/>
        </a:p>
      </dgm:t>
    </dgm:pt>
    <dgm:pt modelId="{C80BE99C-7F6C-4E6C-B313-4AC77FFB90E1}" type="parTrans" cxnId="{EA977651-BF09-4723-8194-9C1E7A32E671}">
      <dgm:prSet/>
      <dgm:spPr/>
      <dgm:t>
        <a:bodyPr/>
        <a:lstStyle/>
        <a:p>
          <a:endParaRPr lang="en-US"/>
        </a:p>
      </dgm:t>
    </dgm:pt>
    <dgm:pt modelId="{D8A6F5ED-28F1-4B73-A4A4-73C81888F427}" type="sibTrans" cxnId="{EA977651-BF09-4723-8194-9C1E7A32E671}">
      <dgm:prSet/>
      <dgm:spPr/>
      <dgm:t>
        <a:bodyPr/>
        <a:lstStyle/>
        <a:p>
          <a:endParaRPr lang="en-US"/>
        </a:p>
      </dgm:t>
    </dgm:pt>
    <dgm:pt modelId="{1280559C-D714-44B4-B736-F54555C99B8F}">
      <dgm:prSet phldrT="[Text]"/>
      <dgm:spPr/>
      <dgm:t>
        <a:bodyPr/>
        <a:lstStyle/>
        <a:p>
          <a:r>
            <a:rPr lang="en-US" dirty="0" smtClean="0"/>
            <a:t>Classification</a:t>
          </a:r>
          <a:endParaRPr lang="en-US" dirty="0"/>
        </a:p>
      </dgm:t>
    </dgm:pt>
    <dgm:pt modelId="{6C2FC323-BAB5-439D-A743-C7FD52C90A45}" type="parTrans" cxnId="{81433FBD-2296-441E-BA61-7E7AD69B6870}">
      <dgm:prSet/>
      <dgm:spPr/>
      <dgm:t>
        <a:bodyPr/>
        <a:lstStyle/>
        <a:p>
          <a:endParaRPr lang="en-US"/>
        </a:p>
      </dgm:t>
    </dgm:pt>
    <dgm:pt modelId="{AF86FD6A-71EB-43D7-A956-03AC67000691}" type="sibTrans" cxnId="{81433FBD-2296-441E-BA61-7E7AD69B6870}">
      <dgm:prSet/>
      <dgm:spPr/>
      <dgm:t>
        <a:bodyPr/>
        <a:lstStyle/>
        <a:p>
          <a:endParaRPr lang="en-US"/>
        </a:p>
      </dgm:t>
    </dgm:pt>
    <dgm:pt modelId="{90F7EA8E-B99F-440B-9315-E49FD7676455}" type="pres">
      <dgm:prSet presAssocID="{2F547205-6E44-44D3-A514-29A5106CDE5B}" presName="linear" presStyleCnt="0">
        <dgm:presLayoutVars>
          <dgm:dir/>
          <dgm:animLvl val="lvl"/>
          <dgm:resizeHandles val="exact"/>
        </dgm:presLayoutVars>
      </dgm:prSet>
      <dgm:spPr/>
      <dgm:t>
        <a:bodyPr/>
        <a:lstStyle/>
        <a:p>
          <a:endParaRPr lang="en-US"/>
        </a:p>
      </dgm:t>
    </dgm:pt>
    <dgm:pt modelId="{BBDFE764-1DB7-4D59-A019-825BB156325A}" type="pres">
      <dgm:prSet presAssocID="{D6DDBBC4-B6F1-4F2E-9A99-A932469FD616}" presName="parentLin" presStyleCnt="0"/>
      <dgm:spPr/>
    </dgm:pt>
    <dgm:pt modelId="{0D2CDFF8-848C-424D-90C6-F349B11CCF89}" type="pres">
      <dgm:prSet presAssocID="{D6DDBBC4-B6F1-4F2E-9A99-A932469FD616}" presName="parentLeftMargin" presStyleLbl="node1" presStyleIdx="0" presStyleCnt="4"/>
      <dgm:spPr/>
      <dgm:t>
        <a:bodyPr/>
        <a:lstStyle/>
        <a:p>
          <a:endParaRPr lang="en-US"/>
        </a:p>
      </dgm:t>
    </dgm:pt>
    <dgm:pt modelId="{CA1BB7CA-D2F3-4FF9-9ECC-5BF85A94A9D5}" type="pres">
      <dgm:prSet presAssocID="{D6DDBBC4-B6F1-4F2E-9A99-A932469FD616}" presName="parentText" presStyleLbl="node1" presStyleIdx="0" presStyleCnt="4">
        <dgm:presLayoutVars>
          <dgm:chMax val="0"/>
          <dgm:bulletEnabled val="1"/>
        </dgm:presLayoutVars>
      </dgm:prSet>
      <dgm:spPr/>
      <dgm:t>
        <a:bodyPr/>
        <a:lstStyle/>
        <a:p>
          <a:endParaRPr lang="en-US"/>
        </a:p>
      </dgm:t>
    </dgm:pt>
    <dgm:pt modelId="{456F5E4C-8EF2-4F87-8CCF-978053372689}" type="pres">
      <dgm:prSet presAssocID="{D6DDBBC4-B6F1-4F2E-9A99-A932469FD616}" presName="negativeSpace" presStyleCnt="0"/>
      <dgm:spPr/>
    </dgm:pt>
    <dgm:pt modelId="{2644116D-CE83-471A-BD6F-25F14F4A506F}" type="pres">
      <dgm:prSet presAssocID="{D6DDBBC4-B6F1-4F2E-9A99-A932469FD616}" presName="childText" presStyleLbl="conFgAcc1" presStyleIdx="0" presStyleCnt="4">
        <dgm:presLayoutVars>
          <dgm:bulletEnabled val="1"/>
        </dgm:presLayoutVars>
      </dgm:prSet>
      <dgm:spPr/>
    </dgm:pt>
    <dgm:pt modelId="{0A8E01A6-017D-4B16-88B1-7AD6244BDECA}" type="pres">
      <dgm:prSet presAssocID="{A956A055-FD14-4F57-AD87-22A529D07445}" presName="spaceBetweenRectangles" presStyleCnt="0"/>
      <dgm:spPr/>
    </dgm:pt>
    <dgm:pt modelId="{209A10D4-8C66-4FA9-8982-12D3560BFBD4}" type="pres">
      <dgm:prSet presAssocID="{2FBBD9D6-1C6F-4AC0-BCA0-21095022D9AC}" presName="parentLin" presStyleCnt="0"/>
      <dgm:spPr/>
    </dgm:pt>
    <dgm:pt modelId="{370B7B15-04DB-464B-BC98-5173638306DA}" type="pres">
      <dgm:prSet presAssocID="{2FBBD9D6-1C6F-4AC0-BCA0-21095022D9AC}" presName="parentLeftMargin" presStyleLbl="node1" presStyleIdx="0" presStyleCnt="4"/>
      <dgm:spPr/>
      <dgm:t>
        <a:bodyPr/>
        <a:lstStyle/>
        <a:p>
          <a:endParaRPr lang="en-US"/>
        </a:p>
      </dgm:t>
    </dgm:pt>
    <dgm:pt modelId="{C8D29BA3-6E6C-4908-B411-796E0538CA17}" type="pres">
      <dgm:prSet presAssocID="{2FBBD9D6-1C6F-4AC0-BCA0-21095022D9AC}" presName="parentText" presStyleLbl="node1" presStyleIdx="1" presStyleCnt="4">
        <dgm:presLayoutVars>
          <dgm:chMax val="0"/>
          <dgm:bulletEnabled val="1"/>
        </dgm:presLayoutVars>
      </dgm:prSet>
      <dgm:spPr/>
      <dgm:t>
        <a:bodyPr/>
        <a:lstStyle/>
        <a:p>
          <a:endParaRPr lang="en-US"/>
        </a:p>
      </dgm:t>
    </dgm:pt>
    <dgm:pt modelId="{CDAF9A53-7036-4733-BEE1-F698A2CEF8C6}" type="pres">
      <dgm:prSet presAssocID="{2FBBD9D6-1C6F-4AC0-BCA0-21095022D9AC}" presName="negativeSpace" presStyleCnt="0"/>
      <dgm:spPr/>
    </dgm:pt>
    <dgm:pt modelId="{EABF6B5D-921A-422F-80E3-763F0FDCDA97}" type="pres">
      <dgm:prSet presAssocID="{2FBBD9D6-1C6F-4AC0-BCA0-21095022D9AC}" presName="childText" presStyleLbl="conFgAcc1" presStyleIdx="1" presStyleCnt="4">
        <dgm:presLayoutVars>
          <dgm:bulletEnabled val="1"/>
        </dgm:presLayoutVars>
      </dgm:prSet>
      <dgm:spPr/>
    </dgm:pt>
    <dgm:pt modelId="{3B6EB847-460B-4AB0-8912-8F9AAE0A57AE}" type="pres">
      <dgm:prSet presAssocID="{E71A4905-84F2-4312-9FAC-653E653853D5}" presName="spaceBetweenRectangles" presStyleCnt="0"/>
      <dgm:spPr/>
    </dgm:pt>
    <dgm:pt modelId="{DED4C1CB-DFCB-4234-94CB-061B01826F2F}" type="pres">
      <dgm:prSet presAssocID="{1280559C-D714-44B4-B736-F54555C99B8F}" presName="parentLin" presStyleCnt="0"/>
      <dgm:spPr/>
    </dgm:pt>
    <dgm:pt modelId="{4C0AB9D0-906D-4D5F-9419-64B7CA0B1A91}" type="pres">
      <dgm:prSet presAssocID="{1280559C-D714-44B4-B736-F54555C99B8F}" presName="parentLeftMargin" presStyleLbl="node1" presStyleIdx="1" presStyleCnt="4"/>
      <dgm:spPr/>
      <dgm:t>
        <a:bodyPr/>
        <a:lstStyle/>
        <a:p>
          <a:endParaRPr lang="en-US"/>
        </a:p>
      </dgm:t>
    </dgm:pt>
    <dgm:pt modelId="{B2AAEBC3-04F7-490B-84E8-2DAB258E6671}" type="pres">
      <dgm:prSet presAssocID="{1280559C-D714-44B4-B736-F54555C99B8F}" presName="parentText" presStyleLbl="node1" presStyleIdx="2" presStyleCnt="4">
        <dgm:presLayoutVars>
          <dgm:chMax val="0"/>
          <dgm:bulletEnabled val="1"/>
        </dgm:presLayoutVars>
      </dgm:prSet>
      <dgm:spPr/>
      <dgm:t>
        <a:bodyPr/>
        <a:lstStyle/>
        <a:p>
          <a:endParaRPr lang="en-US"/>
        </a:p>
      </dgm:t>
    </dgm:pt>
    <dgm:pt modelId="{C199BDB0-11E2-47E7-AA91-197F6FF0CCAE}" type="pres">
      <dgm:prSet presAssocID="{1280559C-D714-44B4-B736-F54555C99B8F}" presName="negativeSpace" presStyleCnt="0"/>
      <dgm:spPr/>
    </dgm:pt>
    <dgm:pt modelId="{926039EF-51CB-47F5-AF00-17D8A39FE143}" type="pres">
      <dgm:prSet presAssocID="{1280559C-D714-44B4-B736-F54555C99B8F}" presName="childText" presStyleLbl="conFgAcc1" presStyleIdx="2" presStyleCnt="4">
        <dgm:presLayoutVars>
          <dgm:bulletEnabled val="1"/>
        </dgm:presLayoutVars>
      </dgm:prSet>
      <dgm:spPr/>
    </dgm:pt>
    <dgm:pt modelId="{E8DA0FD3-FE97-4B40-971D-63B664F0EBB6}" type="pres">
      <dgm:prSet presAssocID="{AF86FD6A-71EB-43D7-A956-03AC67000691}" presName="spaceBetweenRectangles" presStyleCnt="0"/>
      <dgm:spPr/>
    </dgm:pt>
    <dgm:pt modelId="{C330E775-E2B9-4493-8C2A-F8547F37570B}" type="pres">
      <dgm:prSet presAssocID="{5C43770E-DD7F-49A3-AB63-D5EC9CDFE251}" presName="parentLin" presStyleCnt="0"/>
      <dgm:spPr/>
    </dgm:pt>
    <dgm:pt modelId="{F136C0F5-5C1B-4245-987D-319431BDE60C}" type="pres">
      <dgm:prSet presAssocID="{5C43770E-DD7F-49A3-AB63-D5EC9CDFE251}" presName="parentLeftMargin" presStyleLbl="node1" presStyleIdx="2" presStyleCnt="4"/>
      <dgm:spPr/>
      <dgm:t>
        <a:bodyPr/>
        <a:lstStyle/>
        <a:p>
          <a:endParaRPr lang="en-US"/>
        </a:p>
      </dgm:t>
    </dgm:pt>
    <dgm:pt modelId="{521ADEE4-2B7C-4BEB-8326-31A40CEDC587}" type="pres">
      <dgm:prSet presAssocID="{5C43770E-DD7F-49A3-AB63-D5EC9CDFE251}" presName="parentText" presStyleLbl="node1" presStyleIdx="3" presStyleCnt="4">
        <dgm:presLayoutVars>
          <dgm:chMax val="0"/>
          <dgm:bulletEnabled val="1"/>
        </dgm:presLayoutVars>
      </dgm:prSet>
      <dgm:spPr/>
      <dgm:t>
        <a:bodyPr/>
        <a:lstStyle/>
        <a:p>
          <a:endParaRPr lang="en-US"/>
        </a:p>
      </dgm:t>
    </dgm:pt>
    <dgm:pt modelId="{2D4B082B-2530-43CD-A913-4A1A4F6107D7}" type="pres">
      <dgm:prSet presAssocID="{5C43770E-DD7F-49A3-AB63-D5EC9CDFE251}" presName="negativeSpace" presStyleCnt="0"/>
      <dgm:spPr/>
    </dgm:pt>
    <dgm:pt modelId="{94D255B4-8863-48BE-9B1F-7C4D010C9D7F}" type="pres">
      <dgm:prSet presAssocID="{5C43770E-DD7F-49A3-AB63-D5EC9CDFE251}" presName="childText" presStyleLbl="conFgAcc1" presStyleIdx="3" presStyleCnt="4">
        <dgm:presLayoutVars>
          <dgm:bulletEnabled val="1"/>
        </dgm:presLayoutVars>
      </dgm:prSet>
      <dgm:spPr/>
    </dgm:pt>
  </dgm:ptLst>
  <dgm:cxnLst>
    <dgm:cxn modelId="{7AB7FC41-E638-460A-ADE0-EC6DF032D5AD}" type="presOf" srcId="{5C43770E-DD7F-49A3-AB63-D5EC9CDFE251}" destId="{521ADEE4-2B7C-4BEB-8326-31A40CEDC587}" srcOrd="1" destOrd="0" presId="urn:microsoft.com/office/officeart/2005/8/layout/list1"/>
    <dgm:cxn modelId="{16A90651-442E-426B-8C06-FF87C57B6B4E}" type="presOf" srcId="{2FBBD9D6-1C6F-4AC0-BCA0-21095022D9AC}" destId="{C8D29BA3-6E6C-4908-B411-796E0538CA17}" srcOrd="1" destOrd="0" presId="urn:microsoft.com/office/officeart/2005/8/layout/list1"/>
    <dgm:cxn modelId="{501A8CE5-9DCC-498E-9F7E-9B11B049D410}" type="presOf" srcId="{D6DDBBC4-B6F1-4F2E-9A99-A932469FD616}" destId="{CA1BB7CA-D2F3-4FF9-9ECC-5BF85A94A9D5}" srcOrd="1" destOrd="0" presId="urn:microsoft.com/office/officeart/2005/8/layout/list1"/>
    <dgm:cxn modelId="{953F7651-397B-4ADC-A6A0-F32ECAE200FA}" type="presOf" srcId="{5C43770E-DD7F-49A3-AB63-D5EC9CDFE251}" destId="{F136C0F5-5C1B-4245-987D-319431BDE60C}" srcOrd="0" destOrd="0" presId="urn:microsoft.com/office/officeart/2005/8/layout/list1"/>
    <dgm:cxn modelId="{E09EAC44-36ED-4466-BDF2-71207B73DE8A}" type="presOf" srcId="{2F547205-6E44-44D3-A514-29A5106CDE5B}" destId="{90F7EA8E-B99F-440B-9315-E49FD7676455}" srcOrd="0" destOrd="0" presId="urn:microsoft.com/office/officeart/2005/8/layout/list1"/>
    <dgm:cxn modelId="{7ECB5C69-0457-434B-B3CA-0ADE7D8DCC7A}" type="presOf" srcId="{1280559C-D714-44B4-B736-F54555C99B8F}" destId="{B2AAEBC3-04F7-490B-84E8-2DAB258E6671}" srcOrd="1" destOrd="0" presId="urn:microsoft.com/office/officeart/2005/8/layout/list1"/>
    <dgm:cxn modelId="{726B182B-68F0-43BA-927E-D9272748F76D}" srcId="{2F547205-6E44-44D3-A514-29A5106CDE5B}" destId="{2FBBD9D6-1C6F-4AC0-BCA0-21095022D9AC}" srcOrd="1" destOrd="0" parTransId="{9F0883A7-06A0-4FE8-B325-0BA46EBFF5A0}" sibTransId="{E71A4905-84F2-4312-9FAC-653E653853D5}"/>
    <dgm:cxn modelId="{81433FBD-2296-441E-BA61-7E7AD69B6870}" srcId="{2F547205-6E44-44D3-A514-29A5106CDE5B}" destId="{1280559C-D714-44B4-B736-F54555C99B8F}" srcOrd="2" destOrd="0" parTransId="{6C2FC323-BAB5-439D-A743-C7FD52C90A45}" sibTransId="{AF86FD6A-71EB-43D7-A956-03AC67000691}"/>
    <dgm:cxn modelId="{CE4B1708-3167-411A-83D9-A7E5C339330A}" srcId="{2F547205-6E44-44D3-A514-29A5106CDE5B}" destId="{D6DDBBC4-B6F1-4F2E-9A99-A932469FD616}" srcOrd="0" destOrd="0" parTransId="{9F85B84C-3802-4DA5-8BB6-103405D669F0}" sibTransId="{A956A055-FD14-4F57-AD87-22A529D07445}"/>
    <dgm:cxn modelId="{A3495710-3D16-45F1-85B6-F1D5D6DB1557}" type="presOf" srcId="{1280559C-D714-44B4-B736-F54555C99B8F}" destId="{4C0AB9D0-906D-4D5F-9419-64B7CA0B1A91}" srcOrd="0" destOrd="0" presId="urn:microsoft.com/office/officeart/2005/8/layout/list1"/>
    <dgm:cxn modelId="{797DEF4F-24FF-4DC1-BEAB-29E7F98BF87A}" type="presOf" srcId="{2FBBD9D6-1C6F-4AC0-BCA0-21095022D9AC}" destId="{370B7B15-04DB-464B-BC98-5173638306DA}" srcOrd="0" destOrd="0" presId="urn:microsoft.com/office/officeart/2005/8/layout/list1"/>
    <dgm:cxn modelId="{6319BC48-8CAD-4EA1-B303-A3F2D6659BFE}" type="presOf" srcId="{D6DDBBC4-B6F1-4F2E-9A99-A932469FD616}" destId="{0D2CDFF8-848C-424D-90C6-F349B11CCF89}" srcOrd="0" destOrd="0" presId="urn:microsoft.com/office/officeart/2005/8/layout/list1"/>
    <dgm:cxn modelId="{EA977651-BF09-4723-8194-9C1E7A32E671}" srcId="{2F547205-6E44-44D3-A514-29A5106CDE5B}" destId="{5C43770E-DD7F-49A3-AB63-D5EC9CDFE251}" srcOrd="3" destOrd="0" parTransId="{C80BE99C-7F6C-4E6C-B313-4AC77FFB90E1}" sibTransId="{D8A6F5ED-28F1-4B73-A4A4-73C81888F427}"/>
    <dgm:cxn modelId="{6C5CCE33-220F-4B2C-8948-913716496468}" type="presParOf" srcId="{90F7EA8E-B99F-440B-9315-E49FD7676455}" destId="{BBDFE764-1DB7-4D59-A019-825BB156325A}" srcOrd="0" destOrd="0" presId="urn:microsoft.com/office/officeart/2005/8/layout/list1"/>
    <dgm:cxn modelId="{A28025AC-914B-4631-8B9C-5395C49DAA80}" type="presParOf" srcId="{BBDFE764-1DB7-4D59-A019-825BB156325A}" destId="{0D2CDFF8-848C-424D-90C6-F349B11CCF89}" srcOrd="0" destOrd="0" presId="urn:microsoft.com/office/officeart/2005/8/layout/list1"/>
    <dgm:cxn modelId="{A4A463E8-8B19-427C-83B5-FC290442A04E}" type="presParOf" srcId="{BBDFE764-1DB7-4D59-A019-825BB156325A}" destId="{CA1BB7CA-D2F3-4FF9-9ECC-5BF85A94A9D5}" srcOrd="1" destOrd="0" presId="urn:microsoft.com/office/officeart/2005/8/layout/list1"/>
    <dgm:cxn modelId="{C3B5CF8D-D6D7-4F2D-8D78-03C58075D101}" type="presParOf" srcId="{90F7EA8E-B99F-440B-9315-E49FD7676455}" destId="{456F5E4C-8EF2-4F87-8CCF-978053372689}" srcOrd="1" destOrd="0" presId="urn:microsoft.com/office/officeart/2005/8/layout/list1"/>
    <dgm:cxn modelId="{B8521F10-3CF7-4F91-8BAE-E97453187AF3}" type="presParOf" srcId="{90F7EA8E-B99F-440B-9315-E49FD7676455}" destId="{2644116D-CE83-471A-BD6F-25F14F4A506F}" srcOrd="2" destOrd="0" presId="urn:microsoft.com/office/officeart/2005/8/layout/list1"/>
    <dgm:cxn modelId="{F7CF36FE-7EA2-4FA1-A158-D5701BF67972}" type="presParOf" srcId="{90F7EA8E-B99F-440B-9315-E49FD7676455}" destId="{0A8E01A6-017D-4B16-88B1-7AD6244BDECA}" srcOrd="3" destOrd="0" presId="urn:microsoft.com/office/officeart/2005/8/layout/list1"/>
    <dgm:cxn modelId="{402E8915-EFBA-4BB3-8265-14982E2CECEE}" type="presParOf" srcId="{90F7EA8E-B99F-440B-9315-E49FD7676455}" destId="{209A10D4-8C66-4FA9-8982-12D3560BFBD4}" srcOrd="4" destOrd="0" presId="urn:microsoft.com/office/officeart/2005/8/layout/list1"/>
    <dgm:cxn modelId="{61F13E3A-C6C0-4F1F-8E78-5E0815834668}" type="presParOf" srcId="{209A10D4-8C66-4FA9-8982-12D3560BFBD4}" destId="{370B7B15-04DB-464B-BC98-5173638306DA}" srcOrd="0" destOrd="0" presId="urn:microsoft.com/office/officeart/2005/8/layout/list1"/>
    <dgm:cxn modelId="{A9EDFD3C-9A82-43B4-AD94-C8773004EA94}" type="presParOf" srcId="{209A10D4-8C66-4FA9-8982-12D3560BFBD4}" destId="{C8D29BA3-6E6C-4908-B411-796E0538CA17}" srcOrd="1" destOrd="0" presId="urn:microsoft.com/office/officeart/2005/8/layout/list1"/>
    <dgm:cxn modelId="{09CCE24A-8E5B-4665-9C21-C319045F61D0}" type="presParOf" srcId="{90F7EA8E-B99F-440B-9315-E49FD7676455}" destId="{CDAF9A53-7036-4733-BEE1-F698A2CEF8C6}" srcOrd="5" destOrd="0" presId="urn:microsoft.com/office/officeart/2005/8/layout/list1"/>
    <dgm:cxn modelId="{5A430EDA-B05B-4006-8894-1827FE7653EE}" type="presParOf" srcId="{90F7EA8E-B99F-440B-9315-E49FD7676455}" destId="{EABF6B5D-921A-422F-80E3-763F0FDCDA97}" srcOrd="6" destOrd="0" presId="urn:microsoft.com/office/officeart/2005/8/layout/list1"/>
    <dgm:cxn modelId="{9929CDB6-DF43-4174-80B0-8A16222BED95}" type="presParOf" srcId="{90F7EA8E-B99F-440B-9315-E49FD7676455}" destId="{3B6EB847-460B-4AB0-8912-8F9AAE0A57AE}" srcOrd="7" destOrd="0" presId="urn:microsoft.com/office/officeart/2005/8/layout/list1"/>
    <dgm:cxn modelId="{C0F95B07-48D8-4579-A104-F3CFA08A08AB}" type="presParOf" srcId="{90F7EA8E-B99F-440B-9315-E49FD7676455}" destId="{DED4C1CB-DFCB-4234-94CB-061B01826F2F}" srcOrd="8" destOrd="0" presId="urn:microsoft.com/office/officeart/2005/8/layout/list1"/>
    <dgm:cxn modelId="{54D100B5-04C4-4915-BCA8-027AD30B93E9}" type="presParOf" srcId="{DED4C1CB-DFCB-4234-94CB-061B01826F2F}" destId="{4C0AB9D0-906D-4D5F-9419-64B7CA0B1A91}" srcOrd="0" destOrd="0" presId="urn:microsoft.com/office/officeart/2005/8/layout/list1"/>
    <dgm:cxn modelId="{6217E2CB-73CB-4F33-B8DC-10AC30F68A17}" type="presParOf" srcId="{DED4C1CB-DFCB-4234-94CB-061B01826F2F}" destId="{B2AAEBC3-04F7-490B-84E8-2DAB258E6671}" srcOrd="1" destOrd="0" presId="urn:microsoft.com/office/officeart/2005/8/layout/list1"/>
    <dgm:cxn modelId="{247A7EC3-F9BD-436E-BBA2-14AD92889460}" type="presParOf" srcId="{90F7EA8E-B99F-440B-9315-E49FD7676455}" destId="{C199BDB0-11E2-47E7-AA91-197F6FF0CCAE}" srcOrd="9" destOrd="0" presId="urn:microsoft.com/office/officeart/2005/8/layout/list1"/>
    <dgm:cxn modelId="{DC12566A-EA13-45B6-A797-0A1ACD213214}" type="presParOf" srcId="{90F7EA8E-B99F-440B-9315-E49FD7676455}" destId="{926039EF-51CB-47F5-AF00-17D8A39FE143}" srcOrd="10" destOrd="0" presId="urn:microsoft.com/office/officeart/2005/8/layout/list1"/>
    <dgm:cxn modelId="{F0A1DE32-45C6-43E1-88C3-73940DF4AFA9}" type="presParOf" srcId="{90F7EA8E-B99F-440B-9315-E49FD7676455}" destId="{E8DA0FD3-FE97-4B40-971D-63B664F0EBB6}" srcOrd="11" destOrd="0" presId="urn:microsoft.com/office/officeart/2005/8/layout/list1"/>
    <dgm:cxn modelId="{AD67E1CC-7E01-4C29-BF0D-C0F623AE792B}" type="presParOf" srcId="{90F7EA8E-B99F-440B-9315-E49FD7676455}" destId="{C330E775-E2B9-4493-8C2A-F8547F37570B}" srcOrd="12" destOrd="0" presId="urn:microsoft.com/office/officeart/2005/8/layout/list1"/>
    <dgm:cxn modelId="{4CF6A877-59FC-487F-B670-0E1EE81D4151}" type="presParOf" srcId="{C330E775-E2B9-4493-8C2A-F8547F37570B}" destId="{F136C0F5-5C1B-4245-987D-319431BDE60C}" srcOrd="0" destOrd="0" presId="urn:microsoft.com/office/officeart/2005/8/layout/list1"/>
    <dgm:cxn modelId="{1B5C820E-AAD5-4CE7-AFE2-93F32AC22006}" type="presParOf" srcId="{C330E775-E2B9-4493-8C2A-F8547F37570B}" destId="{521ADEE4-2B7C-4BEB-8326-31A40CEDC587}" srcOrd="1" destOrd="0" presId="urn:microsoft.com/office/officeart/2005/8/layout/list1"/>
    <dgm:cxn modelId="{B0FA6702-B79D-4082-AC9E-389D71022133}" type="presParOf" srcId="{90F7EA8E-B99F-440B-9315-E49FD7676455}" destId="{2D4B082B-2530-43CD-A913-4A1A4F6107D7}" srcOrd="13" destOrd="0" presId="urn:microsoft.com/office/officeart/2005/8/layout/list1"/>
    <dgm:cxn modelId="{5E7C715A-5340-4D3D-A149-E0B12579076F}" type="presParOf" srcId="{90F7EA8E-B99F-440B-9315-E49FD7676455}" destId="{94D255B4-8863-48BE-9B1F-7C4D010C9D7F}" srcOrd="14" destOrd="0" presId="urn:microsoft.com/office/officeart/2005/8/layout/list1"/>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547205-6E44-44D3-A514-29A5106CD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6DDBBC4-B6F1-4F2E-9A99-A932469FD616}">
      <dgm:prSet phldrT="[Text]"/>
      <dgm:spPr/>
      <dgm:t>
        <a:bodyPr/>
        <a:lstStyle/>
        <a:p>
          <a:r>
            <a:rPr lang="en-US" dirty="0" smtClean="0"/>
            <a:t>Attention </a:t>
          </a:r>
          <a:endParaRPr lang="en-US" dirty="0"/>
        </a:p>
      </dgm:t>
    </dgm:pt>
    <dgm:pt modelId="{9F85B84C-3802-4DA5-8BB6-103405D669F0}" type="parTrans" cxnId="{CE4B1708-3167-411A-83D9-A7E5C339330A}">
      <dgm:prSet/>
      <dgm:spPr/>
      <dgm:t>
        <a:bodyPr/>
        <a:lstStyle/>
        <a:p>
          <a:endParaRPr lang="en-US"/>
        </a:p>
      </dgm:t>
    </dgm:pt>
    <dgm:pt modelId="{A956A055-FD14-4F57-AD87-22A529D07445}" type="sibTrans" cxnId="{CE4B1708-3167-411A-83D9-A7E5C339330A}">
      <dgm:prSet/>
      <dgm:spPr/>
      <dgm:t>
        <a:bodyPr/>
        <a:lstStyle/>
        <a:p>
          <a:endParaRPr lang="en-US"/>
        </a:p>
      </dgm:t>
    </dgm:pt>
    <dgm:pt modelId="{2FBBD9D6-1C6F-4AC0-BCA0-21095022D9AC}">
      <dgm:prSet phldrT="[Text]"/>
      <dgm:spPr/>
      <dgm:t>
        <a:bodyPr/>
        <a:lstStyle/>
        <a:p>
          <a:r>
            <a:rPr lang="en-US" dirty="0" smtClean="0"/>
            <a:t>Distraction</a:t>
          </a:r>
          <a:endParaRPr lang="en-US" dirty="0"/>
        </a:p>
      </dgm:t>
    </dgm:pt>
    <dgm:pt modelId="{9F0883A7-06A0-4FE8-B325-0BA46EBFF5A0}" type="parTrans" cxnId="{726B182B-68F0-43BA-927E-D9272748F76D}">
      <dgm:prSet/>
      <dgm:spPr/>
      <dgm:t>
        <a:bodyPr/>
        <a:lstStyle/>
        <a:p>
          <a:endParaRPr lang="en-US"/>
        </a:p>
      </dgm:t>
    </dgm:pt>
    <dgm:pt modelId="{E71A4905-84F2-4312-9FAC-653E653853D5}" type="sibTrans" cxnId="{726B182B-68F0-43BA-927E-D9272748F76D}">
      <dgm:prSet/>
      <dgm:spPr/>
      <dgm:t>
        <a:bodyPr/>
        <a:lstStyle/>
        <a:p>
          <a:endParaRPr lang="en-US"/>
        </a:p>
      </dgm:t>
    </dgm:pt>
    <dgm:pt modelId="{1280559C-D714-44B4-B736-F54555C99B8F}">
      <dgm:prSet phldrT="[Text]"/>
      <dgm:spPr/>
      <dgm:t>
        <a:bodyPr/>
        <a:lstStyle/>
        <a:p>
          <a:r>
            <a:rPr lang="en-US" dirty="0" smtClean="0"/>
            <a:t>Safety</a:t>
          </a:r>
          <a:endParaRPr lang="en-US" dirty="0"/>
        </a:p>
      </dgm:t>
    </dgm:pt>
    <dgm:pt modelId="{6C2FC323-BAB5-439D-A743-C7FD52C90A45}" type="parTrans" cxnId="{81433FBD-2296-441E-BA61-7E7AD69B6870}">
      <dgm:prSet/>
      <dgm:spPr/>
      <dgm:t>
        <a:bodyPr/>
        <a:lstStyle/>
        <a:p>
          <a:endParaRPr lang="en-US"/>
        </a:p>
      </dgm:t>
    </dgm:pt>
    <dgm:pt modelId="{AF86FD6A-71EB-43D7-A956-03AC67000691}" type="sibTrans" cxnId="{81433FBD-2296-441E-BA61-7E7AD69B6870}">
      <dgm:prSet/>
      <dgm:spPr/>
      <dgm:t>
        <a:bodyPr/>
        <a:lstStyle/>
        <a:p>
          <a:endParaRPr lang="en-US"/>
        </a:p>
      </dgm:t>
    </dgm:pt>
    <dgm:pt modelId="{90F7EA8E-B99F-440B-9315-E49FD7676455}" type="pres">
      <dgm:prSet presAssocID="{2F547205-6E44-44D3-A514-29A5106CDE5B}" presName="linear" presStyleCnt="0">
        <dgm:presLayoutVars>
          <dgm:dir/>
          <dgm:animLvl val="lvl"/>
          <dgm:resizeHandles val="exact"/>
        </dgm:presLayoutVars>
      </dgm:prSet>
      <dgm:spPr/>
      <dgm:t>
        <a:bodyPr/>
        <a:lstStyle/>
        <a:p>
          <a:endParaRPr lang="en-US"/>
        </a:p>
      </dgm:t>
    </dgm:pt>
    <dgm:pt modelId="{BBDFE764-1DB7-4D59-A019-825BB156325A}" type="pres">
      <dgm:prSet presAssocID="{D6DDBBC4-B6F1-4F2E-9A99-A932469FD616}" presName="parentLin" presStyleCnt="0"/>
      <dgm:spPr/>
    </dgm:pt>
    <dgm:pt modelId="{0D2CDFF8-848C-424D-90C6-F349B11CCF89}" type="pres">
      <dgm:prSet presAssocID="{D6DDBBC4-B6F1-4F2E-9A99-A932469FD616}" presName="parentLeftMargin" presStyleLbl="node1" presStyleIdx="0" presStyleCnt="3"/>
      <dgm:spPr/>
      <dgm:t>
        <a:bodyPr/>
        <a:lstStyle/>
        <a:p>
          <a:endParaRPr lang="en-US"/>
        </a:p>
      </dgm:t>
    </dgm:pt>
    <dgm:pt modelId="{CA1BB7CA-D2F3-4FF9-9ECC-5BF85A94A9D5}" type="pres">
      <dgm:prSet presAssocID="{D6DDBBC4-B6F1-4F2E-9A99-A932469FD616}" presName="parentText" presStyleLbl="node1" presStyleIdx="0" presStyleCnt="3">
        <dgm:presLayoutVars>
          <dgm:chMax val="0"/>
          <dgm:bulletEnabled val="1"/>
        </dgm:presLayoutVars>
      </dgm:prSet>
      <dgm:spPr/>
      <dgm:t>
        <a:bodyPr/>
        <a:lstStyle/>
        <a:p>
          <a:endParaRPr lang="en-US"/>
        </a:p>
      </dgm:t>
    </dgm:pt>
    <dgm:pt modelId="{456F5E4C-8EF2-4F87-8CCF-978053372689}" type="pres">
      <dgm:prSet presAssocID="{D6DDBBC4-B6F1-4F2E-9A99-A932469FD616}" presName="negativeSpace" presStyleCnt="0"/>
      <dgm:spPr/>
    </dgm:pt>
    <dgm:pt modelId="{2644116D-CE83-471A-BD6F-25F14F4A506F}" type="pres">
      <dgm:prSet presAssocID="{D6DDBBC4-B6F1-4F2E-9A99-A932469FD616}" presName="childText" presStyleLbl="conFgAcc1" presStyleIdx="0" presStyleCnt="3">
        <dgm:presLayoutVars>
          <dgm:bulletEnabled val="1"/>
        </dgm:presLayoutVars>
      </dgm:prSet>
      <dgm:spPr/>
    </dgm:pt>
    <dgm:pt modelId="{0A8E01A6-017D-4B16-88B1-7AD6244BDECA}" type="pres">
      <dgm:prSet presAssocID="{A956A055-FD14-4F57-AD87-22A529D07445}" presName="spaceBetweenRectangles" presStyleCnt="0"/>
      <dgm:spPr/>
    </dgm:pt>
    <dgm:pt modelId="{209A10D4-8C66-4FA9-8982-12D3560BFBD4}" type="pres">
      <dgm:prSet presAssocID="{2FBBD9D6-1C6F-4AC0-BCA0-21095022D9AC}" presName="parentLin" presStyleCnt="0"/>
      <dgm:spPr/>
    </dgm:pt>
    <dgm:pt modelId="{370B7B15-04DB-464B-BC98-5173638306DA}" type="pres">
      <dgm:prSet presAssocID="{2FBBD9D6-1C6F-4AC0-BCA0-21095022D9AC}" presName="parentLeftMargin" presStyleLbl="node1" presStyleIdx="0" presStyleCnt="3"/>
      <dgm:spPr/>
      <dgm:t>
        <a:bodyPr/>
        <a:lstStyle/>
        <a:p>
          <a:endParaRPr lang="en-US"/>
        </a:p>
      </dgm:t>
    </dgm:pt>
    <dgm:pt modelId="{C8D29BA3-6E6C-4908-B411-796E0538CA17}" type="pres">
      <dgm:prSet presAssocID="{2FBBD9D6-1C6F-4AC0-BCA0-21095022D9AC}" presName="parentText" presStyleLbl="node1" presStyleIdx="1" presStyleCnt="3">
        <dgm:presLayoutVars>
          <dgm:chMax val="0"/>
          <dgm:bulletEnabled val="1"/>
        </dgm:presLayoutVars>
      </dgm:prSet>
      <dgm:spPr/>
      <dgm:t>
        <a:bodyPr/>
        <a:lstStyle/>
        <a:p>
          <a:endParaRPr lang="en-US"/>
        </a:p>
      </dgm:t>
    </dgm:pt>
    <dgm:pt modelId="{CDAF9A53-7036-4733-BEE1-F698A2CEF8C6}" type="pres">
      <dgm:prSet presAssocID="{2FBBD9D6-1C6F-4AC0-BCA0-21095022D9AC}" presName="negativeSpace" presStyleCnt="0"/>
      <dgm:spPr/>
    </dgm:pt>
    <dgm:pt modelId="{EABF6B5D-921A-422F-80E3-763F0FDCDA97}" type="pres">
      <dgm:prSet presAssocID="{2FBBD9D6-1C6F-4AC0-BCA0-21095022D9AC}" presName="childText" presStyleLbl="conFgAcc1" presStyleIdx="1" presStyleCnt="3">
        <dgm:presLayoutVars>
          <dgm:bulletEnabled val="1"/>
        </dgm:presLayoutVars>
      </dgm:prSet>
      <dgm:spPr/>
    </dgm:pt>
    <dgm:pt modelId="{3B6EB847-460B-4AB0-8912-8F9AAE0A57AE}" type="pres">
      <dgm:prSet presAssocID="{E71A4905-84F2-4312-9FAC-653E653853D5}" presName="spaceBetweenRectangles" presStyleCnt="0"/>
      <dgm:spPr/>
    </dgm:pt>
    <dgm:pt modelId="{DED4C1CB-DFCB-4234-94CB-061B01826F2F}" type="pres">
      <dgm:prSet presAssocID="{1280559C-D714-44B4-B736-F54555C99B8F}" presName="parentLin" presStyleCnt="0"/>
      <dgm:spPr/>
    </dgm:pt>
    <dgm:pt modelId="{4C0AB9D0-906D-4D5F-9419-64B7CA0B1A91}" type="pres">
      <dgm:prSet presAssocID="{1280559C-D714-44B4-B736-F54555C99B8F}" presName="parentLeftMargin" presStyleLbl="node1" presStyleIdx="1" presStyleCnt="3"/>
      <dgm:spPr/>
      <dgm:t>
        <a:bodyPr/>
        <a:lstStyle/>
        <a:p>
          <a:endParaRPr lang="en-US"/>
        </a:p>
      </dgm:t>
    </dgm:pt>
    <dgm:pt modelId="{B2AAEBC3-04F7-490B-84E8-2DAB258E6671}" type="pres">
      <dgm:prSet presAssocID="{1280559C-D714-44B4-B736-F54555C99B8F}" presName="parentText" presStyleLbl="node1" presStyleIdx="2" presStyleCnt="3">
        <dgm:presLayoutVars>
          <dgm:chMax val="0"/>
          <dgm:bulletEnabled val="1"/>
        </dgm:presLayoutVars>
      </dgm:prSet>
      <dgm:spPr/>
      <dgm:t>
        <a:bodyPr/>
        <a:lstStyle/>
        <a:p>
          <a:endParaRPr lang="en-US"/>
        </a:p>
      </dgm:t>
    </dgm:pt>
    <dgm:pt modelId="{C199BDB0-11E2-47E7-AA91-197F6FF0CCAE}" type="pres">
      <dgm:prSet presAssocID="{1280559C-D714-44B4-B736-F54555C99B8F}" presName="negativeSpace" presStyleCnt="0"/>
      <dgm:spPr/>
    </dgm:pt>
    <dgm:pt modelId="{926039EF-51CB-47F5-AF00-17D8A39FE143}" type="pres">
      <dgm:prSet presAssocID="{1280559C-D714-44B4-B736-F54555C99B8F}" presName="childText" presStyleLbl="conFgAcc1" presStyleIdx="2" presStyleCnt="3">
        <dgm:presLayoutVars>
          <dgm:bulletEnabled val="1"/>
        </dgm:presLayoutVars>
      </dgm:prSet>
      <dgm:spPr/>
    </dgm:pt>
  </dgm:ptLst>
  <dgm:cxnLst>
    <dgm:cxn modelId="{A3495710-3D16-45F1-85B6-F1D5D6DB1557}" type="presOf" srcId="{1280559C-D714-44B4-B736-F54555C99B8F}" destId="{4C0AB9D0-906D-4D5F-9419-64B7CA0B1A91}" srcOrd="0" destOrd="0" presId="urn:microsoft.com/office/officeart/2005/8/layout/list1"/>
    <dgm:cxn modelId="{16A90651-442E-426B-8C06-FF87C57B6B4E}" type="presOf" srcId="{2FBBD9D6-1C6F-4AC0-BCA0-21095022D9AC}" destId="{C8D29BA3-6E6C-4908-B411-796E0538CA17}" srcOrd="1" destOrd="0" presId="urn:microsoft.com/office/officeart/2005/8/layout/list1"/>
    <dgm:cxn modelId="{726B182B-68F0-43BA-927E-D9272748F76D}" srcId="{2F547205-6E44-44D3-A514-29A5106CDE5B}" destId="{2FBBD9D6-1C6F-4AC0-BCA0-21095022D9AC}" srcOrd="1" destOrd="0" parTransId="{9F0883A7-06A0-4FE8-B325-0BA46EBFF5A0}" sibTransId="{E71A4905-84F2-4312-9FAC-653E653853D5}"/>
    <dgm:cxn modelId="{CE4B1708-3167-411A-83D9-A7E5C339330A}" srcId="{2F547205-6E44-44D3-A514-29A5106CDE5B}" destId="{D6DDBBC4-B6F1-4F2E-9A99-A932469FD616}" srcOrd="0" destOrd="0" parTransId="{9F85B84C-3802-4DA5-8BB6-103405D669F0}" sibTransId="{A956A055-FD14-4F57-AD87-22A529D07445}"/>
    <dgm:cxn modelId="{E09EAC44-36ED-4466-BDF2-71207B73DE8A}" type="presOf" srcId="{2F547205-6E44-44D3-A514-29A5106CDE5B}" destId="{90F7EA8E-B99F-440B-9315-E49FD7676455}" srcOrd="0" destOrd="0" presId="urn:microsoft.com/office/officeart/2005/8/layout/list1"/>
    <dgm:cxn modelId="{7ECB5C69-0457-434B-B3CA-0ADE7D8DCC7A}" type="presOf" srcId="{1280559C-D714-44B4-B736-F54555C99B8F}" destId="{B2AAEBC3-04F7-490B-84E8-2DAB258E6671}" srcOrd="1" destOrd="0" presId="urn:microsoft.com/office/officeart/2005/8/layout/list1"/>
    <dgm:cxn modelId="{797DEF4F-24FF-4DC1-BEAB-29E7F98BF87A}" type="presOf" srcId="{2FBBD9D6-1C6F-4AC0-BCA0-21095022D9AC}" destId="{370B7B15-04DB-464B-BC98-5173638306DA}" srcOrd="0" destOrd="0" presId="urn:microsoft.com/office/officeart/2005/8/layout/list1"/>
    <dgm:cxn modelId="{501A8CE5-9DCC-498E-9F7E-9B11B049D410}" type="presOf" srcId="{D6DDBBC4-B6F1-4F2E-9A99-A932469FD616}" destId="{CA1BB7CA-D2F3-4FF9-9ECC-5BF85A94A9D5}" srcOrd="1" destOrd="0" presId="urn:microsoft.com/office/officeart/2005/8/layout/list1"/>
    <dgm:cxn modelId="{81433FBD-2296-441E-BA61-7E7AD69B6870}" srcId="{2F547205-6E44-44D3-A514-29A5106CDE5B}" destId="{1280559C-D714-44B4-B736-F54555C99B8F}" srcOrd="2" destOrd="0" parTransId="{6C2FC323-BAB5-439D-A743-C7FD52C90A45}" sibTransId="{AF86FD6A-71EB-43D7-A956-03AC67000691}"/>
    <dgm:cxn modelId="{6319BC48-8CAD-4EA1-B303-A3F2D6659BFE}" type="presOf" srcId="{D6DDBBC4-B6F1-4F2E-9A99-A932469FD616}" destId="{0D2CDFF8-848C-424D-90C6-F349B11CCF89}" srcOrd="0" destOrd="0" presId="urn:microsoft.com/office/officeart/2005/8/layout/list1"/>
    <dgm:cxn modelId="{6C5CCE33-220F-4B2C-8948-913716496468}" type="presParOf" srcId="{90F7EA8E-B99F-440B-9315-E49FD7676455}" destId="{BBDFE764-1DB7-4D59-A019-825BB156325A}" srcOrd="0" destOrd="0" presId="urn:microsoft.com/office/officeart/2005/8/layout/list1"/>
    <dgm:cxn modelId="{A28025AC-914B-4631-8B9C-5395C49DAA80}" type="presParOf" srcId="{BBDFE764-1DB7-4D59-A019-825BB156325A}" destId="{0D2CDFF8-848C-424D-90C6-F349B11CCF89}" srcOrd="0" destOrd="0" presId="urn:microsoft.com/office/officeart/2005/8/layout/list1"/>
    <dgm:cxn modelId="{A4A463E8-8B19-427C-83B5-FC290442A04E}" type="presParOf" srcId="{BBDFE764-1DB7-4D59-A019-825BB156325A}" destId="{CA1BB7CA-D2F3-4FF9-9ECC-5BF85A94A9D5}" srcOrd="1" destOrd="0" presId="urn:microsoft.com/office/officeart/2005/8/layout/list1"/>
    <dgm:cxn modelId="{C3B5CF8D-D6D7-4F2D-8D78-03C58075D101}" type="presParOf" srcId="{90F7EA8E-B99F-440B-9315-E49FD7676455}" destId="{456F5E4C-8EF2-4F87-8CCF-978053372689}" srcOrd="1" destOrd="0" presId="urn:microsoft.com/office/officeart/2005/8/layout/list1"/>
    <dgm:cxn modelId="{B8521F10-3CF7-4F91-8BAE-E97453187AF3}" type="presParOf" srcId="{90F7EA8E-B99F-440B-9315-E49FD7676455}" destId="{2644116D-CE83-471A-BD6F-25F14F4A506F}" srcOrd="2" destOrd="0" presId="urn:microsoft.com/office/officeart/2005/8/layout/list1"/>
    <dgm:cxn modelId="{F7CF36FE-7EA2-4FA1-A158-D5701BF67972}" type="presParOf" srcId="{90F7EA8E-B99F-440B-9315-E49FD7676455}" destId="{0A8E01A6-017D-4B16-88B1-7AD6244BDECA}" srcOrd="3" destOrd="0" presId="urn:microsoft.com/office/officeart/2005/8/layout/list1"/>
    <dgm:cxn modelId="{402E8915-EFBA-4BB3-8265-14982E2CECEE}" type="presParOf" srcId="{90F7EA8E-B99F-440B-9315-E49FD7676455}" destId="{209A10D4-8C66-4FA9-8982-12D3560BFBD4}" srcOrd="4" destOrd="0" presId="urn:microsoft.com/office/officeart/2005/8/layout/list1"/>
    <dgm:cxn modelId="{61F13E3A-C6C0-4F1F-8E78-5E0815834668}" type="presParOf" srcId="{209A10D4-8C66-4FA9-8982-12D3560BFBD4}" destId="{370B7B15-04DB-464B-BC98-5173638306DA}" srcOrd="0" destOrd="0" presId="urn:microsoft.com/office/officeart/2005/8/layout/list1"/>
    <dgm:cxn modelId="{A9EDFD3C-9A82-43B4-AD94-C8773004EA94}" type="presParOf" srcId="{209A10D4-8C66-4FA9-8982-12D3560BFBD4}" destId="{C8D29BA3-6E6C-4908-B411-796E0538CA17}" srcOrd="1" destOrd="0" presId="urn:microsoft.com/office/officeart/2005/8/layout/list1"/>
    <dgm:cxn modelId="{09CCE24A-8E5B-4665-9C21-C319045F61D0}" type="presParOf" srcId="{90F7EA8E-B99F-440B-9315-E49FD7676455}" destId="{CDAF9A53-7036-4733-BEE1-F698A2CEF8C6}" srcOrd="5" destOrd="0" presId="urn:microsoft.com/office/officeart/2005/8/layout/list1"/>
    <dgm:cxn modelId="{5A430EDA-B05B-4006-8894-1827FE7653EE}" type="presParOf" srcId="{90F7EA8E-B99F-440B-9315-E49FD7676455}" destId="{EABF6B5D-921A-422F-80E3-763F0FDCDA97}" srcOrd="6" destOrd="0" presId="urn:microsoft.com/office/officeart/2005/8/layout/list1"/>
    <dgm:cxn modelId="{9929CDB6-DF43-4174-80B0-8A16222BED95}" type="presParOf" srcId="{90F7EA8E-B99F-440B-9315-E49FD7676455}" destId="{3B6EB847-460B-4AB0-8912-8F9AAE0A57AE}" srcOrd="7" destOrd="0" presId="urn:microsoft.com/office/officeart/2005/8/layout/list1"/>
    <dgm:cxn modelId="{C0F95B07-48D8-4579-A104-F3CFA08A08AB}" type="presParOf" srcId="{90F7EA8E-B99F-440B-9315-E49FD7676455}" destId="{DED4C1CB-DFCB-4234-94CB-061B01826F2F}" srcOrd="8" destOrd="0" presId="urn:microsoft.com/office/officeart/2005/8/layout/list1"/>
    <dgm:cxn modelId="{54D100B5-04C4-4915-BCA8-027AD30B93E9}" type="presParOf" srcId="{DED4C1CB-DFCB-4234-94CB-061B01826F2F}" destId="{4C0AB9D0-906D-4D5F-9419-64B7CA0B1A91}" srcOrd="0" destOrd="0" presId="urn:microsoft.com/office/officeart/2005/8/layout/list1"/>
    <dgm:cxn modelId="{6217E2CB-73CB-4F33-B8DC-10AC30F68A17}" type="presParOf" srcId="{DED4C1CB-DFCB-4234-94CB-061B01826F2F}" destId="{B2AAEBC3-04F7-490B-84E8-2DAB258E6671}" srcOrd="1" destOrd="0" presId="urn:microsoft.com/office/officeart/2005/8/layout/list1"/>
    <dgm:cxn modelId="{247A7EC3-F9BD-436E-BBA2-14AD92889460}" type="presParOf" srcId="{90F7EA8E-B99F-440B-9315-E49FD7676455}" destId="{C199BDB0-11E2-47E7-AA91-197F6FF0CCAE}" srcOrd="9" destOrd="0" presId="urn:microsoft.com/office/officeart/2005/8/layout/list1"/>
    <dgm:cxn modelId="{DC12566A-EA13-45B6-A797-0A1ACD213214}" type="presParOf" srcId="{90F7EA8E-B99F-440B-9315-E49FD7676455}" destId="{926039EF-51CB-47F5-AF00-17D8A39FE143}" srcOrd="10" destOrd="0" presId="urn:microsoft.com/office/officeart/2005/8/layout/list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547205-6E44-44D3-A514-29A5106CD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6DDBBC4-B6F1-4F2E-9A99-A932469FD616}">
      <dgm:prSet phldrT="[Text]"/>
      <dgm:spPr/>
      <dgm:t>
        <a:bodyPr/>
        <a:lstStyle/>
        <a:p>
          <a:r>
            <a:rPr lang="en-US" dirty="0" smtClean="0"/>
            <a:t>Parking Management</a:t>
          </a:r>
          <a:endParaRPr lang="en-US" dirty="0"/>
        </a:p>
      </dgm:t>
    </dgm:pt>
    <dgm:pt modelId="{9F85B84C-3802-4DA5-8BB6-103405D669F0}" type="parTrans" cxnId="{CE4B1708-3167-411A-83D9-A7E5C339330A}">
      <dgm:prSet/>
      <dgm:spPr/>
      <dgm:t>
        <a:bodyPr/>
        <a:lstStyle/>
        <a:p>
          <a:endParaRPr lang="en-US"/>
        </a:p>
      </dgm:t>
    </dgm:pt>
    <dgm:pt modelId="{A956A055-FD14-4F57-AD87-22A529D07445}" type="sibTrans" cxnId="{CE4B1708-3167-411A-83D9-A7E5C339330A}">
      <dgm:prSet/>
      <dgm:spPr/>
      <dgm:t>
        <a:bodyPr/>
        <a:lstStyle/>
        <a:p>
          <a:endParaRPr lang="en-US"/>
        </a:p>
      </dgm:t>
    </dgm:pt>
    <dgm:pt modelId="{2FBBD9D6-1C6F-4AC0-BCA0-21095022D9AC}">
      <dgm:prSet phldrT="[Text]"/>
      <dgm:spPr/>
      <dgm:t>
        <a:bodyPr/>
        <a:lstStyle/>
        <a:p>
          <a:r>
            <a:rPr lang="en-US" dirty="0" smtClean="0"/>
            <a:t>ANPR</a:t>
          </a:r>
          <a:endParaRPr lang="en-US" dirty="0"/>
        </a:p>
      </dgm:t>
    </dgm:pt>
    <dgm:pt modelId="{9F0883A7-06A0-4FE8-B325-0BA46EBFF5A0}" type="parTrans" cxnId="{726B182B-68F0-43BA-927E-D9272748F76D}">
      <dgm:prSet/>
      <dgm:spPr/>
      <dgm:t>
        <a:bodyPr/>
        <a:lstStyle/>
        <a:p>
          <a:endParaRPr lang="en-US"/>
        </a:p>
      </dgm:t>
    </dgm:pt>
    <dgm:pt modelId="{E71A4905-84F2-4312-9FAC-653E653853D5}" type="sibTrans" cxnId="{726B182B-68F0-43BA-927E-D9272748F76D}">
      <dgm:prSet/>
      <dgm:spPr/>
      <dgm:t>
        <a:bodyPr/>
        <a:lstStyle/>
        <a:p>
          <a:endParaRPr lang="en-US"/>
        </a:p>
      </dgm:t>
    </dgm:pt>
    <dgm:pt modelId="{1280559C-D714-44B4-B736-F54555C99B8F}">
      <dgm:prSet phldrT="[Text]"/>
      <dgm:spPr/>
      <dgm:t>
        <a:bodyPr/>
        <a:lstStyle/>
        <a:p>
          <a:r>
            <a:rPr lang="en-US" dirty="0" smtClean="0"/>
            <a:t>Security &amp; Surveillance</a:t>
          </a:r>
          <a:endParaRPr lang="en-US" dirty="0"/>
        </a:p>
      </dgm:t>
    </dgm:pt>
    <dgm:pt modelId="{6C2FC323-BAB5-439D-A743-C7FD52C90A45}" type="parTrans" cxnId="{81433FBD-2296-441E-BA61-7E7AD69B6870}">
      <dgm:prSet/>
      <dgm:spPr/>
      <dgm:t>
        <a:bodyPr/>
        <a:lstStyle/>
        <a:p>
          <a:endParaRPr lang="en-US"/>
        </a:p>
      </dgm:t>
    </dgm:pt>
    <dgm:pt modelId="{AF86FD6A-71EB-43D7-A956-03AC67000691}" type="sibTrans" cxnId="{81433FBD-2296-441E-BA61-7E7AD69B6870}">
      <dgm:prSet/>
      <dgm:spPr/>
      <dgm:t>
        <a:bodyPr/>
        <a:lstStyle/>
        <a:p>
          <a:endParaRPr lang="en-US"/>
        </a:p>
      </dgm:t>
    </dgm:pt>
    <dgm:pt modelId="{90F7EA8E-B99F-440B-9315-E49FD7676455}" type="pres">
      <dgm:prSet presAssocID="{2F547205-6E44-44D3-A514-29A5106CDE5B}" presName="linear" presStyleCnt="0">
        <dgm:presLayoutVars>
          <dgm:dir/>
          <dgm:animLvl val="lvl"/>
          <dgm:resizeHandles val="exact"/>
        </dgm:presLayoutVars>
      </dgm:prSet>
      <dgm:spPr/>
      <dgm:t>
        <a:bodyPr/>
        <a:lstStyle/>
        <a:p>
          <a:endParaRPr lang="en-US"/>
        </a:p>
      </dgm:t>
    </dgm:pt>
    <dgm:pt modelId="{BBDFE764-1DB7-4D59-A019-825BB156325A}" type="pres">
      <dgm:prSet presAssocID="{D6DDBBC4-B6F1-4F2E-9A99-A932469FD616}" presName="parentLin" presStyleCnt="0"/>
      <dgm:spPr/>
    </dgm:pt>
    <dgm:pt modelId="{0D2CDFF8-848C-424D-90C6-F349B11CCF89}" type="pres">
      <dgm:prSet presAssocID="{D6DDBBC4-B6F1-4F2E-9A99-A932469FD616}" presName="parentLeftMargin" presStyleLbl="node1" presStyleIdx="0" presStyleCnt="3"/>
      <dgm:spPr/>
      <dgm:t>
        <a:bodyPr/>
        <a:lstStyle/>
        <a:p>
          <a:endParaRPr lang="en-US"/>
        </a:p>
      </dgm:t>
    </dgm:pt>
    <dgm:pt modelId="{CA1BB7CA-D2F3-4FF9-9ECC-5BF85A94A9D5}" type="pres">
      <dgm:prSet presAssocID="{D6DDBBC4-B6F1-4F2E-9A99-A932469FD616}" presName="parentText" presStyleLbl="node1" presStyleIdx="0" presStyleCnt="3">
        <dgm:presLayoutVars>
          <dgm:chMax val="0"/>
          <dgm:bulletEnabled val="1"/>
        </dgm:presLayoutVars>
      </dgm:prSet>
      <dgm:spPr/>
      <dgm:t>
        <a:bodyPr/>
        <a:lstStyle/>
        <a:p>
          <a:endParaRPr lang="en-US"/>
        </a:p>
      </dgm:t>
    </dgm:pt>
    <dgm:pt modelId="{456F5E4C-8EF2-4F87-8CCF-978053372689}" type="pres">
      <dgm:prSet presAssocID="{D6DDBBC4-B6F1-4F2E-9A99-A932469FD616}" presName="negativeSpace" presStyleCnt="0"/>
      <dgm:spPr/>
    </dgm:pt>
    <dgm:pt modelId="{2644116D-CE83-471A-BD6F-25F14F4A506F}" type="pres">
      <dgm:prSet presAssocID="{D6DDBBC4-B6F1-4F2E-9A99-A932469FD616}" presName="childText" presStyleLbl="conFgAcc1" presStyleIdx="0" presStyleCnt="3">
        <dgm:presLayoutVars>
          <dgm:bulletEnabled val="1"/>
        </dgm:presLayoutVars>
      </dgm:prSet>
      <dgm:spPr/>
    </dgm:pt>
    <dgm:pt modelId="{0A8E01A6-017D-4B16-88B1-7AD6244BDECA}" type="pres">
      <dgm:prSet presAssocID="{A956A055-FD14-4F57-AD87-22A529D07445}" presName="spaceBetweenRectangles" presStyleCnt="0"/>
      <dgm:spPr/>
    </dgm:pt>
    <dgm:pt modelId="{209A10D4-8C66-4FA9-8982-12D3560BFBD4}" type="pres">
      <dgm:prSet presAssocID="{2FBBD9D6-1C6F-4AC0-BCA0-21095022D9AC}" presName="parentLin" presStyleCnt="0"/>
      <dgm:spPr/>
    </dgm:pt>
    <dgm:pt modelId="{370B7B15-04DB-464B-BC98-5173638306DA}" type="pres">
      <dgm:prSet presAssocID="{2FBBD9D6-1C6F-4AC0-BCA0-21095022D9AC}" presName="parentLeftMargin" presStyleLbl="node1" presStyleIdx="0" presStyleCnt="3"/>
      <dgm:spPr/>
      <dgm:t>
        <a:bodyPr/>
        <a:lstStyle/>
        <a:p>
          <a:endParaRPr lang="en-US"/>
        </a:p>
      </dgm:t>
    </dgm:pt>
    <dgm:pt modelId="{C8D29BA3-6E6C-4908-B411-796E0538CA17}" type="pres">
      <dgm:prSet presAssocID="{2FBBD9D6-1C6F-4AC0-BCA0-21095022D9AC}" presName="parentText" presStyleLbl="node1" presStyleIdx="1" presStyleCnt="3">
        <dgm:presLayoutVars>
          <dgm:chMax val="0"/>
          <dgm:bulletEnabled val="1"/>
        </dgm:presLayoutVars>
      </dgm:prSet>
      <dgm:spPr/>
      <dgm:t>
        <a:bodyPr/>
        <a:lstStyle/>
        <a:p>
          <a:endParaRPr lang="en-US"/>
        </a:p>
      </dgm:t>
    </dgm:pt>
    <dgm:pt modelId="{CDAF9A53-7036-4733-BEE1-F698A2CEF8C6}" type="pres">
      <dgm:prSet presAssocID="{2FBBD9D6-1C6F-4AC0-BCA0-21095022D9AC}" presName="negativeSpace" presStyleCnt="0"/>
      <dgm:spPr/>
    </dgm:pt>
    <dgm:pt modelId="{EABF6B5D-921A-422F-80E3-763F0FDCDA97}" type="pres">
      <dgm:prSet presAssocID="{2FBBD9D6-1C6F-4AC0-BCA0-21095022D9AC}" presName="childText" presStyleLbl="conFgAcc1" presStyleIdx="1" presStyleCnt="3">
        <dgm:presLayoutVars>
          <dgm:bulletEnabled val="1"/>
        </dgm:presLayoutVars>
      </dgm:prSet>
      <dgm:spPr/>
    </dgm:pt>
    <dgm:pt modelId="{3B6EB847-460B-4AB0-8912-8F9AAE0A57AE}" type="pres">
      <dgm:prSet presAssocID="{E71A4905-84F2-4312-9FAC-653E653853D5}" presName="spaceBetweenRectangles" presStyleCnt="0"/>
      <dgm:spPr/>
    </dgm:pt>
    <dgm:pt modelId="{DED4C1CB-DFCB-4234-94CB-061B01826F2F}" type="pres">
      <dgm:prSet presAssocID="{1280559C-D714-44B4-B736-F54555C99B8F}" presName="parentLin" presStyleCnt="0"/>
      <dgm:spPr/>
    </dgm:pt>
    <dgm:pt modelId="{4C0AB9D0-906D-4D5F-9419-64B7CA0B1A91}" type="pres">
      <dgm:prSet presAssocID="{1280559C-D714-44B4-B736-F54555C99B8F}" presName="parentLeftMargin" presStyleLbl="node1" presStyleIdx="1" presStyleCnt="3"/>
      <dgm:spPr/>
      <dgm:t>
        <a:bodyPr/>
        <a:lstStyle/>
        <a:p>
          <a:endParaRPr lang="en-US"/>
        </a:p>
      </dgm:t>
    </dgm:pt>
    <dgm:pt modelId="{B2AAEBC3-04F7-490B-84E8-2DAB258E6671}" type="pres">
      <dgm:prSet presAssocID="{1280559C-D714-44B4-B736-F54555C99B8F}" presName="parentText" presStyleLbl="node1" presStyleIdx="2" presStyleCnt="3">
        <dgm:presLayoutVars>
          <dgm:chMax val="0"/>
          <dgm:bulletEnabled val="1"/>
        </dgm:presLayoutVars>
      </dgm:prSet>
      <dgm:spPr/>
      <dgm:t>
        <a:bodyPr/>
        <a:lstStyle/>
        <a:p>
          <a:endParaRPr lang="en-US"/>
        </a:p>
      </dgm:t>
    </dgm:pt>
    <dgm:pt modelId="{C199BDB0-11E2-47E7-AA91-197F6FF0CCAE}" type="pres">
      <dgm:prSet presAssocID="{1280559C-D714-44B4-B736-F54555C99B8F}" presName="negativeSpace" presStyleCnt="0"/>
      <dgm:spPr/>
    </dgm:pt>
    <dgm:pt modelId="{926039EF-51CB-47F5-AF00-17D8A39FE143}" type="pres">
      <dgm:prSet presAssocID="{1280559C-D714-44B4-B736-F54555C99B8F}" presName="childText" presStyleLbl="conFgAcc1" presStyleIdx="2" presStyleCnt="3">
        <dgm:presLayoutVars>
          <dgm:bulletEnabled val="1"/>
        </dgm:presLayoutVars>
      </dgm:prSet>
      <dgm:spPr/>
    </dgm:pt>
  </dgm:ptLst>
  <dgm:cxnLst>
    <dgm:cxn modelId="{A3495710-3D16-45F1-85B6-F1D5D6DB1557}" type="presOf" srcId="{1280559C-D714-44B4-B736-F54555C99B8F}" destId="{4C0AB9D0-906D-4D5F-9419-64B7CA0B1A91}" srcOrd="0" destOrd="0" presId="urn:microsoft.com/office/officeart/2005/8/layout/list1"/>
    <dgm:cxn modelId="{16A90651-442E-426B-8C06-FF87C57B6B4E}" type="presOf" srcId="{2FBBD9D6-1C6F-4AC0-BCA0-21095022D9AC}" destId="{C8D29BA3-6E6C-4908-B411-796E0538CA17}" srcOrd="1" destOrd="0" presId="urn:microsoft.com/office/officeart/2005/8/layout/list1"/>
    <dgm:cxn modelId="{726B182B-68F0-43BA-927E-D9272748F76D}" srcId="{2F547205-6E44-44D3-A514-29A5106CDE5B}" destId="{2FBBD9D6-1C6F-4AC0-BCA0-21095022D9AC}" srcOrd="1" destOrd="0" parTransId="{9F0883A7-06A0-4FE8-B325-0BA46EBFF5A0}" sibTransId="{E71A4905-84F2-4312-9FAC-653E653853D5}"/>
    <dgm:cxn modelId="{CE4B1708-3167-411A-83D9-A7E5C339330A}" srcId="{2F547205-6E44-44D3-A514-29A5106CDE5B}" destId="{D6DDBBC4-B6F1-4F2E-9A99-A932469FD616}" srcOrd="0" destOrd="0" parTransId="{9F85B84C-3802-4DA5-8BB6-103405D669F0}" sibTransId="{A956A055-FD14-4F57-AD87-22A529D07445}"/>
    <dgm:cxn modelId="{E09EAC44-36ED-4466-BDF2-71207B73DE8A}" type="presOf" srcId="{2F547205-6E44-44D3-A514-29A5106CDE5B}" destId="{90F7EA8E-B99F-440B-9315-E49FD7676455}" srcOrd="0" destOrd="0" presId="urn:microsoft.com/office/officeart/2005/8/layout/list1"/>
    <dgm:cxn modelId="{7ECB5C69-0457-434B-B3CA-0ADE7D8DCC7A}" type="presOf" srcId="{1280559C-D714-44B4-B736-F54555C99B8F}" destId="{B2AAEBC3-04F7-490B-84E8-2DAB258E6671}" srcOrd="1" destOrd="0" presId="urn:microsoft.com/office/officeart/2005/8/layout/list1"/>
    <dgm:cxn modelId="{797DEF4F-24FF-4DC1-BEAB-29E7F98BF87A}" type="presOf" srcId="{2FBBD9D6-1C6F-4AC0-BCA0-21095022D9AC}" destId="{370B7B15-04DB-464B-BC98-5173638306DA}" srcOrd="0" destOrd="0" presId="urn:microsoft.com/office/officeart/2005/8/layout/list1"/>
    <dgm:cxn modelId="{501A8CE5-9DCC-498E-9F7E-9B11B049D410}" type="presOf" srcId="{D6DDBBC4-B6F1-4F2E-9A99-A932469FD616}" destId="{CA1BB7CA-D2F3-4FF9-9ECC-5BF85A94A9D5}" srcOrd="1" destOrd="0" presId="urn:microsoft.com/office/officeart/2005/8/layout/list1"/>
    <dgm:cxn modelId="{81433FBD-2296-441E-BA61-7E7AD69B6870}" srcId="{2F547205-6E44-44D3-A514-29A5106CDE5B}" destId="{1280559C-D714-44B4-B736-F54555C99B8F}" srcOrd="2" destOrd="0" parTransId="{6C2FC323-BAB5-439D-A743-C7FD52C90A45}" sibTransId="{AF86FD6A-71EB-43D7-A956-03AC67000691}"/>
    <dgm:cxn modelId="{6319BC48-8CAD-4EA1-B303-A3F2D6659BFE}" type="presOf" srcId="{D6DDBBC4-B6F1-4F2E-9A99-A932469FD616}" destId="{0D2CDFF8-848C-424D-90C6-F349B11CCF89}" srcOrd="0" destOrd="0" presId="urn:microsoft.com/office/officeart/2005/8/layout/list1"/>
    <dgm:cxn modelId="{6C5CCE33-220F-4B2C-8948-913716496468}" type="presParOf" srcId="{90F7EA8E-B99F-440B-9315-E49FD7676455}" destId="{BBDFE764-1DB7-4D59-A019-825BB156325A}" srcOrd="0" destOrd="0" presId="urn:microsoft.com/office/officeart/2005/8/layout/list1"/>
    <dgm:cxn modelId="{A28025AC-914B-4631-8B9C-5395C49DAA80}" type="presParOf" srcId="{BBDFE764-1DB7-4D59-A019-825BB156325A}" destId="{0D2CDFF8-848C-424D-90C6-F349B11CCF89}" srcOrd="0" destOrd="0" presId="urn:microsoft.com/office/officeart/2005/8/layout/list1"/>
    <dgm:cxn modelId="{A4A463E8-8B19-427C-83B5-FC290442A04E}" type="presParOf" srcId="{BBDFE764-1DB7-4D59-A019-825BB156325A}" destId="{CA1BB7CA-D2F3-4FF9-9ECC-5BF85A94A9D5}" srcOrd="1" destOrd="0" presId="urn:microsoft.com/office/officeart/2005/8/layout/list1"/>
    <dgm:cxn modelId="{C3B5CF8D-D6D7-4F2D-8D78-03C58075D101}" type="presParOf" srcId="{90F7EA8E-B99F-440B-9315-E49FD7676455}" destId="{456F5E4C-8EF2-4F87-8CCF-978053372689}" srcOrd="1" destOrd="0" presId="urn:microsoft.com/office/officeart/2005/8/layout/list1"/>
    <dgm:cxn modelId="{B8521F10-3CF7-4F91-8BAE-E97453187AF3}" type="presParOf" srcId="{90F7EA8E-B99F-440B-9315-E49FD7676455}" destId="{2644116D-CE83-471A-BD6F-25F14F4A506F}" srcOrd="2" destOrd="0" presId="urn:microsoft.com/office/officeart/2005/8/layout/list1"/>
    <dgm:cxn modelId="{F7CF36FE-7EA2-4FA1-A158-D5701BF67972}" type="presParOf" srcId="{90F7EA8E-B99F-440B-9315-E49FD7676455}" destId="{0A8E01A6-017D-4B16-88B1-7AD6244BDECA}" srcOrd="3" destOrd="0" presId="urn:microsoft.com/office/officeart/2005/8/layout/list1"/>
    <dgm:cxn modelId="{402E8915-EFBA-4BB3-8265-14982E2CECEE}" type="presParOf" srcId="{90F7EA8E-B99F-440B-9315-E49FD7676455}" destId="{209A10D4-8C66-4FA9-8982-12D3560BFBD4}" srcOrd="4" destOrd="0" presId="urn:microsoft.com/office/officeart/2005/8/layout/list1"/>
    <dgm:cxn modelId="{61F13E3A-C6C0-4F1F-8E78-5E0815834668}" type="presParOf" srcId="{209A10D4-8C66-4FA9-8982-12D3560BFBD4}" destId="{370B7B15-04DB-464B-BC98-5173638306DA}" srcOrd="0" destOrd="0" presId="urn:microsoft.com/office/officeart/2005/8/layout/list1"/>
    <dgm:cxn modelId="{A9EDFD3C-9A82-43B4-AD94-C8773004EA94}" type="presParOf" srcId="{209A10D4-8C66-4FA9-8982-12D3560BFBD4}" destId="{C8D29BA3-6E6C-4908-B411-796E0538CA17}" srcOrd="1" destOrd="0" presId="urn:microsoft.com/office/officeart/2005/8/layout/list1"/>
    <dgm:cxn modelId="{09CCE24A-8E5B-4665-9C21-C319045F61D0}" type="presParOf" srcId="{90F7EA8E-B99F-440B-9315-E49FD7676455}" destId="{CDAF9A53-7036-4733-BEE1-F698A2CEF8C6}" srcOrd="5" destOrd="0" presId="urn:microsoft.com/office/officeart/2005/8/layout/list1"/>
    <dgm:cxn modelId="{5A430EDA-B05B-4006-8894-1827FE7653EE}" type="presParOf" srcId="{90F7EA8E-B99F-440B-9315-E49FD7676455}" destId="{EABF6B5D-921A-422F-80E3-763F0FDCDA97}" srcOrd="6" destOrd="0" presId="urn:microsoft.com/office/officeart/2005/8/layout/list1"/>
    <dgm:cxn modelId="{9929CDB6-DF43-4174-80B0-8A16222BED95}" type="presParOf" srcId="{90F7EA8E-B99F-440B-9315-E49FD7676455}" destId="{3B6EB847-460B-4AB0-8912-8F9AAE0A57AE}" srcOrd="7" destOrd="0" presId="urn:microsoft.com/office/officeart/2005/8/layout/list1"/>
    <dgm:cxn modelId="{C0F95B07-48D8-4579-A104-F3CFA08A08AB}" type="presParOf" srcId="{90F7EA8E-B99F-440B-9315-E49FD7676455}" destId="{DED4C1CB-DFCB-4234-94CB-061B01826F2F}" srcOrd="8" destOrd="0" presId="urn:microsoft.com/office/officeart/2005/8/layout/list1"/>
    <dgm:cxn modelId="{54D100B5-04C4-4915-BCA8-027AD30B93E9}" type="presParOf" srcId="{DED4C1CB-DFCB-4234-94CB-061B01826F2F}" destId="{4C0AB9D0-906D-4D5F-9419-64B7CA0B1A91}" srcOrd="0" destOrd="0" presId="urn:microsoft.com/office/officeart/2005/8/layout/list1"/>
    <dgm:cxn modelId="{6217E2CB-73CB-4F33-B8DC-10AC30F68A17}" type="presParOf" srcId="{DED4C1CB-DFCB-4234-94CB-061B01826F2F}" destId="{B2AAEBC3-04F7-490B-84E8-2DAB258E6671}" srcOrd="1" destOrd="0" presId="urn:microsoft.com/office/officeart/2005/8/layout/list1"/>
    <dgm:cxn modelId="{247A7EC3-F9BD-436E-BBA2-14AD92889460}" type="presParOf" srcId="{90F7EA8E-B99F-440B-9315-E49FD7676455}" destId="{C199BDB0-11E2-47E7-AA91-197F6FF0CCAE}" srcOrd="9" destOrd="0" presId="urn:microsoft.com/office/officeart/2005/8/layout/list1"/>
    <dgm:cxn modelId="{DC12566A-EA13-45B6-A797-0A1ACD213214}" type="presParOf" srcId="{90F7EA8E-B99F-440B-9315-E49FD7676455}" destId="{926039EF-51CB-47F5-AF00-17D8A39FE143}" srcOrd="10" destOrd="0" presId="urn:microsoft.com/office/officeart/2005/8/layout/lis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44116D-CE83-471A-BD6F-25F14F4A506F}">
      <dsp:nvSpPr>
        <dsp:cNvPr id="0" name=""/>
        <dsp:cNvSpPr/>
      </dsp:nvSpPr>
      <dsp:spPr>
        <a:xfrm>
          <a:off x="0" y="378479"/>
          <a:ext cx="3780816"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1BB7CA-D2F3-4FF9-9ECC-5BF85A94A9D5}">
      <dsp:nvSpPr>
        <dsp:cNvPr id="0" name=""/>
        <dsp:cNvSpPr/>
      </dsp:nvSpPr>
      <dsp:spPr>
        <a:xfrm>
          <a:off x="189040" y="83279"/>
          <a:ext cx="2646571"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889000">
            <a:lnSpc>
              <a:spcPct val="90000"/>
            </a:lnSpc>
            <a:spcBef>
              <a:spcPct val="0"/>
            </a:spcBef>
            <a:spcAft>
              <a:spcPct val="35000"/>
            </a:spcAft>
          </a:pPr>
          <a:r>
            <a:rPr lang="en-US" sz="2000" kern="1200" dirty="0" smtClean="0"/>
            <a:t>Object Detection</a:t>
          </a:r>
          <a:endParaRPr lang="en-US" sz="2000" kern="1200" dirty="0"/>
        </a:p>
      </dsp:txBody>
      <dsp:txXfrm>
        <a:off x="217861" y="112100"/>
        <a:ext cx="2588929" cy="532758"/>
      </dsp:txXfrm>
    </dsp:sp>
    <dsp:sp modelId="{EABF6B5D-921A-422F-80E3-763F0FDCDA97}">
      <dsp:nvSpPr>
        <dsp:cNvPr id="0" name=""/>
        <dsp:cNvSpPr/>
      </dsp:nvSpPr>
      <dsp:spPr>
        <a:xfrm>
          <a:off x="0" y="1285680"/>
          <a:ext cx="3780816"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D29BA3-6E6C-4908-B411-796E0538CA17}">
      <dsp:nvSpPr>
        <dsp:cNvPr id="0" name=""/>
        <dsp:cNvSpPr/>
      </dsp:nvSpPr>
      <dsp:spPr>
        <a:xfrm>
          <a:off x="189040" y="990480"/>
          <a:ext cx="2646571"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889000">
            <a:lnSpc>
              <a:spcPct val="90000"/>
            </a:lnSpc>
            <a:spcBef>
              <a:spcPct val="0"/>
            </a:spcBef>
            <a:spcAft>
              <a:spcPct val="35000"/>
            </a:spcAft>
          </a:pPr>
          <a:r>
            <a:rPr lang="en-US" sz="2000" kern="1200" dirty="0" smtClean="0"/>
            <a:t>Segmentation</a:t>
          </a:r>
          <a:endParaRPr lang="en-US" sz="2000" kern="1200" dirty="0"/>
        </a:p>
      </dsp:txBody>
      <dsp:txXfrm>
        <a:off x="217861" y="1019301"/>
        <a:ext cx="2588929" cy="532758"/>
      </dsp:txXfrm>
    </dsp:sp>
    <dsp:sp modelId="{926039EF-51CB-47F5-AF00-17D8A39FE143}">
      <dsp:nvSpPr>
        <dsp:cNvPr id="0" name=""/>
        <dsp:cNvSpPr/>
      </dsp:nvSpPr>
      <dsp:spPr>
        <a:xfrm>
          <a:off x="0" y="2192880"/>
          <a:ext cx="3780816"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AAEBC3-04F7-490B-84E8-2DAB258E6671}">
      <dsp:nvSpPr>
        <dsp:cNvPr id="0" name=""/>
        <dsp:cNvSpPr/>
      </dsp:nvSpPr>
      <dsp:spPr>
        <a:xfrm>
          <a:off x="189040" y="1897680"/>
          <a:ext cx="2646571"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889000">
            <a:lnSpc>
              <a:spcPct val="90000"/>
            </a:lnSpc>
            <a:spcBef>
              <a:spcPct val="0"/>
            </a:spcBef>
            <a:spcAft>
              <a:spcPct val="35000"/>
            </a:spcAft>
          </a:pPr>
          <a:r>
            <a:rPr lang="en-US" sz="2000" kern="1200" dirty="0" smtClean="0"/>
            <a:t>Classification</a:t>
          </a:r>
          <a:endParaRPr lang="en-US" sz="2000" kern="1200" dirty="0"/>
        </a:p>
      </dsp:txBody>
      <dsp:txXfrm>
        <a:off x="217861" y="1926501"/>
        <a:ext cx="2588929" cy="532758"/>
      </dsp:txXfrm>
    </dsp:sp>
    <dsp:sp modelId="{94D255B4-8863-48BE-9B1F-7C4D010C9D7F}">
      <dsp:nvSpPr>
        <dsp:cNvPr id="0" name=""/>
        <dsp:cNvSpPr/>
      </dsp:nvSpPr>
      <dsp:spPr>
        <a:xfrm>
          <a:off x="0" y="3100080"/>
          <a:ext cx="3780816"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1ADEE4-2B7C-4BEB-8326-31A40CEDC587}">
      <dsp:nvSpPr>
        <dsp:cNvPr id="0" name=""/>
        <dsp:cNvSpPr/>
      </dsp:nvSpPr>
      <dsp:spPr>
        <a:xfrm>
          <a:off x="189040" y="2804879"/>
          <a:ext cx="2646571"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889000">
            <a:lnSpc>
              <a:spcPct val="90000"/>
            </a:lnSpc>
            <a:spcBef>
              <a:spcPct val="0"/>
            </a:spcBef>
            <a:spcAft>
              <a:spcPct val="35000"/>
            </a:spcAft>
          </a:pPr>
          <a:r>
            <a:rPr lang="en-US" sz="2000" kern="1200" dirty="0" smtClean="0"/>
            <a:t>Tracking</a:t>
          </a:r>
          <a:endParaRPr lang="en-US" sz="2000" kern="1200" dirty="0"/>
        </a:p>
      </dsp:txBody>
      <dsp:txXfrm>
        <a:off x="217861" y="2833700"/>
        <a:ext cx="2588929" cy="5327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44116D-CE83-471A-BD6F-25F14F4A506F}">
      <dsp:nvSpPr>
        <dsp:cNvPr id="0" name=""/>
        <dsp:cNvSpPr/>
      </dsp:nvSpPr>
      <dsp:spPr>
        <a:xfrm>
          <a:off x="0" y="427439"/>
          <a:ext cx="3780816" cy="705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1BB7CA-D2F3-4FF9-9ECC-5BF85A94A9D5}">
      <dsp:nvSpPr>
        <dsp:cNvPr id="0" name=""/>
        <dsp:cNvSpPr/>
      </dsp:nvSpPr>
      <dsp:spPr>
        <a:xfrm>
          <a:off x="189040" y="14159"/>
          <a:ext cx="2646571" cy="8265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1244600">
            <a:lnSpc>
              <a:spcPct val="90000"/>
            </a:lnSpc>
            <a:spcBef>
              <a:spcPct val="0"/>
            </a:spcBef>
            <a:spcAft>
              <a:spcPct val="35000"/>
            </a:spcAft>
          </a:pPr>
          <a:r>
            <a:rPr lang="en-US" sz="2800" kern="1200" dirty="0" smtClean="0"/>
            <a:t>Attention </a:t>
          </a:r>
          <a:endParaRPr lang="en-US" sz="2800" kern="1200" dirty="0"/>
        </a:p>
      </dsp:txBody>
      <dsp:txXfrm>
        <a:off x="229389" y="54508"/>
        <a:ext cx="2565873" cy="745862"/>
      </dsp:txXfrm>
    </dsp:sp>
    <dsp:sp modelId="{EABF6B5D-921A-422F-80E3-763F0FDCDA97}">
      <dsp:nvSpPr>
        <dsp:cNvPr id="0" name=""/>
        <dsp:cNvSpPr/>
      </dsp:nvSpPr>
      <dsp:spPr>
        <a:xfrm>
          <a:off x="0" y="1697520"/>
          <a:ext cx="3780816" cy="705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D29BA3-6E6C-4908-B411-796E0538CA17}">
      <dsp:nvSpPr>
        <dsp:cNvPr id="0" name=""/>
        <dsp:cNvSpPr/>
      </dsp:nvSpPr>
      <dsp:spPr>
        <a:xfrm>
          <a:off x="189040" y="1284239"/>
          <a:ext cx="2646571" cy="8265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1244600">
            <a:lnSpc>
              <a:spcPct val="90000"/>
            </a:lnSpc>
            <a:spcBef>
              <a:spcPct val="0"/>
            </a:spcBef>
            <a:spcAft>
              <a:spcPct val="35000"/>
            </a:spcAft>
          </a:pPr>
          <a:r>
            <a:rPr lang="en-US" sz="2800" kern="1200" dirty="0" smtClean="0"/>
            <a:t>Distraction</a:t>
          </a:r>
          <a:endParaRPr lang="en-US" sz="2800" kern="1200" dirty="0"/>
        </a:p>
      </dsp:txBody>
      <dsp:txXfrm>
        <a:off x="229389" y="1324588"/>
        <a:ext cx="2565873" cy="745862"/>
      </dsp:txXfrm>
    </dsp:sp>
    <dsp:sp modelId="{926039EF-51CB-47F5-AF00-17D8A39FE143}">
      <dsp:nvSpPr>
        <dsp:cNvPr id="0" name=""/>
        <dsp:cNvSpPr/>
      </dsp:nvSpPr>
      <dsp:spPr>
        <a:xfrm>
          <a:off x="0" y="2967600"/>
          <a:ext cx="3780816" cy="705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AAEBC3-04F7-490B-84E8-2DAB258E6671}">
      <dsp:nvSpPr>
        <dsp:cNvPr id="0" name=""/>
        <dsp:cNvSpPr/>
      </dsp:nvSpPr>
      <dsp:spPr>
        <a:xfrm>
          <a:off x="189040" y="2554320"/>
          <a:ext cx="2646571" cy="8265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1244600">
            <a:lnSpc>
              <a:spcPct val="90000"/>
            </a:lnSpc>
            <a:spcBef>
              <a:spcPct val="0"/>
            </a:spcBef>
            <a:spcAft>
              <a:spcPct val="35000"/>
            </a:spcAft>
          </a:pPr>
          <a:r>
            <a:rPr lang="en-US" sz="2800" kern="1200" dirty="0" smtClean="0"/>
            <a:t>Safety</a:t>
          </a:r>
          <a:endParaRPr lang="en-US" sz="2800" kern="1200" dirty="0"/>
        </a:p>
      </dsp:txBody>
      <dsp:txXfrm>
        <a:off x="229389" y="2594669"/>
        <a:ext cx="2565873" cy="7458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44116D-CE83-471A-BD6F-25F14F4A506F}">
      <dsp:nvSpPr>
        <dsp:cNvPr id="0" name=""/>
        <dsp:cNvSpPr/>
      </dsp:nvSpPr>
      <dsp:spPr>
        <a:xfrm>
          <a:off x="0" y="579179"/>
          <a:ext cx="4701096"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1BB7CA-D2F3-4FF9-9ECC-5BF85A94A9D5}">
      <dsp:nvSpPr>
        <dsp:cNvPr id="0" name=""/>
        <dsp:cNvSpPr/>
      </dsp:nvSpPr>
      <dsp:spPr>
        <a:xfrm>
          <a:off x="235054" y="210179"/>
          <a:ext cx="3290767"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4383" tIns="0" rIns="124383" bIns="0" numCol="1" spcCol="1270" anchor="ctr" anchorCtr="0">
          <a:noAutofit/>
        </a:bodyPr>
        <a:lstStyle/>
        <a:p>
          <a:pPr lvl="0" algn="l" defTabSz="1111250">
            <a:lnSpc>
              <a:spcPct val="90000"/>
            </a:lnSpc>
            <a:spcBef>
              <a:spcPct val="0"/>
            </a:spcBef>
            <a:spcAft>
              <a:spcPct val="35000"/>
            </a:spcAft>
          </a:pPr>
          <a:r>
            <a:rPr lang="en-US" sz="2500" kern="1200" dirty="0" smtClean="0"/>
            <a:t>Parking Management</a:t>
          </a:r>
          <a:endParaRPr lang="en-US" sz="2500" kern="1200" dirty="0"/>
        </a:p>
      </dsp:txBody>
      <dsp:txXfrm>
        <a:off x="271080" y="246205"/>
        <a:ext cx="3218715" cy="665948"/>
      </dsp:txXfrm>
    </dsp:sp>
    <dsp:sp modelId="{EABF6B5D-921A-422F-80E3-763F0FDCDA97}">
      <dsp:nvSpPr>
        <dsp:cNvPr id="0" name=""/>
        <dsp:cNvSpPr/>
      </dsp:nvSpPr>
      <dsp:spPr>
        <a:xfrm>
          <a:off x="0" y="1713180"/>
          <a:ext cx="4701096"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D29BA3-6E6C-4908-B411-796E0538CA17}">
      <dsp:nvSpPr>
        <dsp:cNvPr id="0" name=""/>
        <dsp:cNvSpPr/>
      </dsp:nvSpPr>
      <dsp:spPr>
        <a:xfrm>
          <a:off x="235054" y="1344180"/>
          <a:ext cx="3290767"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4383" tIns="0" rIns="124383" bIns="0" numCol="1" spcCol="1270" anchor="ctr" anchorCtr="0">
          <a:noAutofit/>
        </a:bodyPr>
        <a:lstStyle/>
        <a:p>
          <a:pPr lvl="0" algn="l" defTabSz="1111250">
            <a:lnSpc>
              <a:spcPct val="90000"/>
            </a:lnSpc>
            <a:spcBef>
              <a:spcPct val="0"/>
            </a:spcBef>
            <a:spcAft>
              <a:spcPct val="35000"/>
            </a:spcAft>
          </a:pPr>
          <a:r>
            <a:rPr lang="en-US" sz="2500" kern="1200" dirty="0" smtClean="0"/>
            <a:t>ANPR</a:t>
          </a:r>
          <a:endParaRPr lang="en-US" sz="2500" kern="1200" dirty="0"/>
        </a:p>
      </dsp:txBody>
      <dsp:txXfrm>
        <a:off x="271080" y="1380206"/>
        <a:ext cx="3218715" cy="665948"/>
      </dsp:txXfrm>
    </dsp:sp>
    <dsp:sp modelId="{926039EF-51CB-47F5-AF00-17D8A39FE143}">
      <dsp:nvSpPr>
        <dsp:cNvPr id="0" name=""/>
        <dsp:cNvSpPr/>
      </dsp:nvSpPr>
      <dsp:spPr>
        <a:xfrm>
          <a:off x="0" y="2847180"/>
          <a:ext cx="4701096"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AAEBC3-04F7-490B-84E8-2DAB258E6671}">
      <dsp:nvSpPr>
        <dsp:cNvPr id="0" name=""/>
        <dsp:cNvSpPr/>
      </dsp:nvSpPr>
      <dsp:spPr>
        <a:xfrm>
          <a:off x="235054" y="2478180"/>
          <a:ext cx="3290767"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4383" tIns="0" rIns="124383" bIns="0" numCol="1" spcCol="1270" anchor="ctr" anchorCtr="0">
          <a:noAutofit/>
        </a:bodyPr>
        <a:lstStyle/>
        <a:p>
          <a:pPr lvl="0" algn="l" defTabSz="1111250">
            <a:lnSpc>
              <a:spcPct val="90000"/>
            </a:lnSpc>
            <a:spcBef>
              <a:spcPct val="0"/>
            </a:spcBef>
            <a:spcAft>
              <a:spcPct val="35000"/>
            </a:spcAft>
          </a:pPr>
          <a:r>
            <a:rPr lang="en-US" sz="2500" kern="1200" dirty="0" smtClean="0"/>
            <a:t>Security &amp; Surveillance</a:t>
          </a:r>
          <a:endParaRPr lang="en-US" sz="2500" kern="1200" dirty="0"/>
        </a:p>
      </dsp:txBody>
      <dsp:txXfrm>
        <a:off x="271080" y="2514206"/>
        <a:ext cx="3218715" cy="66594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2128A3-8C83-46B1-83D5-90906DCEFCBD}" type="datetimeFigureOut">
              <a:rPr lang="en-US" smtClean="0"/>
              <a:t>24-Sep-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B4916A-D710-47BD-A2CB-3D16A04A0FAF}" type="slidenum">
              <a:rPr lang="en-US" smtClean="0"/>
              <a:t>‹#›</a:t>
            </a:fld>
            <a:endParaRPr lang="en-US"/>
          </a:p>
        </p:txBody>
      </p:sp>
    </p:spTree>
    <p:extLst>
      <p:ext uri="{BB962C8B-B14F-4D97-AF65-F5344CB8AC3E}">
        <p14:creationId xmlns:p14="http://schemas.microsoft.com/office/powerpoint/2010/main" val="19508841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Lamda</a:t>
            </a:r>
            <a:r>
              <a:rPr lang="en-GB" dirty="0" smtClean="0"/>
              <a:t> Sensors</a:t>
            </a:r>
            <a:r>
              <a:rPr lang="en-GB" baseline="0" dirty="0" smtClean="0"/>
              <a:t> are used to sense the amount of O2 in the exhaust pipes of vehicles. Finding out cracks on Zirconium element because it fragile (like glass). End of line module for Visual Inspection for automated QC</a:t>
            </a:r>
            <a:endParaRPr lang="en-GB" dirty="0"/>
          </a:p>
        </p:txBody>
      </p:sp>
      <p:sp>
        <p:nvSpPr>
          <p:cNvPr id="4" name="Slide Number Placeholder 3"/>
          <p:cNvSpPr>
            <a:spLocks noGrp="1"/>
          </p:cNvSpPr>
          <p:nvPr>
            <p:ph type="sldNum" sz="quarter" idx="10"/>
          </p:nvPr>
        </p:nvSpPr>
        <p:spPr/>
        <p:txBody>
          <a:bodyPr/>
          <a:lstStyle/>
          <a:p>
            <a:fld id="{0AEB1BD4-76D1-4646-870A-56E33766F9D0}" type="slidenum">
              <a:rPr lang="en-GB" smtClean="0"/>
              <a:t>11</a:t>
            </a:fld>
            <a:endParaRPr lang="en-GB"/>
          </a:p>
        </p:txBody>
      </p:sp>
    </p:spTree>
    <p:extLst>
      <p:ext uri="{BB962C8B-B14F-4D97-AF65-F5344CB8AC3E}">
        <p14:creationId xmlns:p14="http://schemas.microsoft.com/office/powerpoint/2010/main" val="33709003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tags" Target="../tags/tag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4"/>
            <a:ext cx="9144000" cy="2387599"/>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167" indent="0" algn="ctr">
              <a:buNone/>
              <a:defRPr sz="1999"/>
            </a:lvl2pPr>
            <a:lvl3pPr marL="914333" indent="0" algn="ctr">
              <a:buNone/>
              <a:defRPr sz="1799"/>
            </a:lvl3pPr>
            <a:lvl4pPr marL="1371500" indent="0" algn="ctr">
              <a:buNone/>
              <a:defRPr sz="1600"/>
            </a:lvl4pPr>
            <a:lvl5pPr marL="1828665" indent="0" algn="ctr">
              <a:buNone/>
              <a:defRPr sz="1600"/>
            </a:lvl5pPr>
            <a:lvl6pPr marL="2285832" indent="0" algn="ctr">
              <a:buNone/>
              <a:defRPr sz="1600"/>
            </a:lvl6pPr>
            <a:lvl7pPr marL="2742999" indent="0" algn="ctr">
              <a:buNone/>
              <a:defRPr sz="1600"/>
            </a:lvl7pPr>
            <a:lvl8pPr marL="3200165" indent="0" algn="ctr">
              <a:buNone/>
              <a:defRPr sz="1600"/>
            </a:lvl8pPr>
            <a:lvl9pPr marL="3657332"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93CD2C3-DA4D-431A-B170-6BF6CC2E0FC8}" type="datetimeFigureOut">
              <a:rPr lang="en-IN" smtClean="0"/>
              <a:t>24-09-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25551958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3CD2C3-DA4D-431A-B170-6BF6CC2E0FC8}" type="datetimeFigureOut">
              <a:rPr lang="en-IN" smtClean="0"/>
              <a:t>24-09-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2051960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3CD2C3-DA4D-431A-B170-6BF6CC2E0FC8}" type="datetimeFigureOut">
              <a:rPr lang="en-IN" smtClean="0"/>
              <a:t>24-09-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3670001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411520" cy="141147"/>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11" b="0" i="0" u="none" spc="0">
                <a:solidFill>
                  <a:schemeClr val="tx1"/>
                </a:solidFill>
                <a:latin typeface="Bosch Office Sans" pitchFamily="2" charset="0"/>
              </a:defRPr>
            </a:lvl1pPr>
            <a:lvl2pPr marL="457183" indent="0" algn="ctr">
              <a:buNone/>
              <a:defRPr sz="1999"/>
            </a:lvl2pPr>
            <a:lvl3pPr marL="914367" indent="0" algn="ctr">
              <a:buNone/>
              <a:defRPr sz="1799"/>
            </a:lvl3pPr>
            <a:lvl4pPr marL="1371551" indent="0" algn="ctr">
              <a:buNone/>
              <a:defRPr sz="1600"/>
            </a:lvl4pPr>
            <a:lvl5pPr marL="1828734" indent="0" algn="ctr">
              <a:buNone/>
              <a:defRPr sz="1600"/>
            </a:lvl5pPr>
            <a:lvl6pPr marL="2285919" indent="0" algn="ctr">
              <a:buNone/>
              <a:defRPr sz="1600"/>
            </a:lvl6pPr>
            <a:lvl7pPr marL="2743102" indent="0" algn="ctr">
              <a:buNone/>
              <a:defRPr sz="1600"/>
            </a:lvl7pPr>
            <a:lvl8pPr marL="3200286" indent="0" algn="ctr">
              <a:buNone/>
              <a:defRPr sz="1600"/>
            </a:lvl8pPr>
            <a:lvl9pPr marL="3657470" indent="0" algn="ctr">
              <a:buNone/>
              <a:defRPr sz="1600"/>
            </a:lvl9pPr>
          </a:lstStyle>
          <a:p>
            <a:r>
              <a:rPr lang="en-US"/>
              <a:t>Click to edit Master subtitle style</a:t>
            </a:r>
            <a:endParaRPr lang="de-DE" dirty="0"/>
          </a:p>
        </p:txBody>
      </p:sp>
      <p:sp>
        <p:nvSpPr>
          <p:cNvPr id="2" name="Title 1"/>
          <p:cNvSpPr>
            <a:spLocks noGrp="1"/>
          </p:cNvSpPr>
          <p:nvPr>
            <p:ph type="ctrTitle"/>
            <p:custDataLst>
              <p:tags r:id="rId2"/>
            </p:custDataLst>
          </p:nvPr>
        </p:nvSpPr>
        <p:spPr>
          <a:xfrm>
            <a:off x="287950" y="287940"/>
            <a:ext cx="10973153" cy="578422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891" b="0" i="0" u="none" cap="all" spc="0">
                <a:solidFill>
                  <a:srgbClr val="FFFFFF"/>
                </a:solidFill>
                <a:latin typeface="Bosch Office Sans" pitchFamily="2" charset="0"/>
              </a:defRPr>
            </a:lvl1pPr>
          </a:lstStyle>
          <a:p>
            <a:r>
              <a:rPr lang="en-US"/>
              <a:t>Click to edit Master title style</a:t>
            </a:r>
            <a:endParaRPr lang="de-DE" dirty="0"/>
          </a:p>
        </p:txBody>
      </p:sp>
    </p:spTree>
    <p:extLst>
      <p:ext uri="{BB962C8B-B14F-4D97-AF65-F5344CB8AC3E}">
        <p14:creationId xmlns:p14="http://schemas.microsoft.com/office/powerpoint/2010/main" val="3593631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364072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719" y="1709651"/>
            <a:ext cx="10514805" cy="2852941"/>
          </a:xfrm>
        </p:spPr>
        <p:txBody>
          <a:bodyPr anchor="b"/>
          <a:lstStyle>
            <a:lvl1pPr>
              <a:defRPr sz="5999"/>
            </a:lvl1pPr>
          </a:lstStyle>
          <a:p>
            <a:r>
              <a:rPr lang="en-US"/>
              <a:t>Click to edit Master title style</a:t>
            </a:r>
            <a:endParaRPr lang="de-DE"/>
          </a:p>
        </p:txBody>
      </p:sp>
      <p:sp>
        <p:nvSpPr>
          <p:cNvPr id="3" name="Text Placeholder 2"/>
          <p:cNvSpPr>
            <a:spLocks noGrp="1"/>
          </p:cNvSpPr>
          <p:nvPr>
            <p:ph type="body" idx="1"/>
          </p:nvPr>
        </p:nvSpPr>
        <p:spPr>
          <a:xfrm>
            <a:off x="832719" y="4589055"/>
            <a:ext cx="10514805" cy="1501455"/>
          </a:xfrm>
        </p:spPr>
        <p:txBody>
          <a:bodyPr/>
          <a:lstStyle>
            <a:lvl1pPr marL="0" indent="0">
              <a:buNone/>
              <a:defRPr sz="2400">
                <a:solidFill>
                  <a:schemeClr val="tx1">
                    <a:tint val="75000"/>
                  </a:schemeClr>
                </a:solidFill>
              </a:defRPr>
            </a:lvl1pPr>
            <a:lvl2pPr marL="457183" indent="0">
              <a:buNone/>
              <a:defRPr sz="1999">
                <a:solidFill>
                  <a:schemeClr val="tx1">
                    <a:tint val="75000"/>
                  </a:schemeClr>
                </a:solidFill>
              </a:defRPr>
            </a:lvl2pPr>
            <a:lvl3pPr marL="914367" indent="0">
              <a:buNone/>
              <a:defRPr sz="1799">
                <a:solidFill>
                  <a:schemeClr val="tx1">
                    <a:tint val="75000"/>
                  </a:schemeClr>
                </a:solidFill>
              </a:defRPr>
            </a:lvl3pPr>
            <a:lvl4pPr marL="1371551" indent="0">
              <a:buNone/>
              <a:defRPr sz="1600">
                <a:solidFill>
                  <a:schemeClr val="tx1">
                    <a:tint val="75000"/>
                  </a:schemeClr>
                </a:solidFill>
              </a:defRPr>
            </a:lvl4pPr>
            <a:lvl5pPr marL="1828734" indent="0">
              <a:buNone/>
              <a:defRPr sz="1600">
                <a:solidFill>
                  <a:schemeClr val="tx1">
                    <a:tint val="75000"/>
                  </a:schemeClr>
                </a:solidFill>
              </a:defRPr>
            </a:lvl5pPr>
            <a:lvl6pPr marL="2285919" indent="0">
              <a:buNone/>
              <a:defRPr sz="1600">
                <a:solidFill>
                  <a:schemeClr val="tx1">
                    <a:tint val="75000"/>
                  </a:schemeClr>
                </a:solidFill>
              </a:defRPr>
            </a:lvl6pPr>
            <a:lvl7pPr marL="2743102" indent="0">
              <a:buNone/>
              <a:defRPr sz="1600">
                <a:solidFill>
                  <a:schemeClr val="tx1">
                    <a:tint val="75000"/>
                  </a:schemeClr>
                </a:solidFill>
              </a:defRPr>
            </a:lvl7pPr>
            <a:lvl8pPr marL="3200286" indent="0">
              <a:buNone/>
              <a:defRPr sz="1600">
                <a:solidFill>
                  <a:schemeClr val="tx1">
                    <a:tint val="75000"/>
                  </a:schemeClr>
                </a:solidFill>
              </a:defRPr>
            </a:lvl8pPr>
            <a:lvl9pPr marL="365747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4670769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384075" y="1440370"/>
            <a:ext cx="5403709" cy="4633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401236" y="1440369"/>
            <a:ext cx="5403709" cy="4633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739007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76" y="365219"/>
            <a:ext cx="10514805" cy="1325021"/>
          </a:xfrm>
        </p:spPr>
        <p:txBody>
          <a:bodyPr/>
          <a:lstStyle/>
          <a:p>
            <a:r>
              <a:rPr lang="en-US"/>
              <a:t>Click to edit Master title style</a:t>
            </a:r>
            <a:endParaRPr lang="de-DE"/>
          </a:p>
        </p:txBody>
      </p:sp>
      <p:sp>
        <p:nvSpPr>
          <p:cNvPr id="3" name="Text Placeholder 2"/>
          <p:cNvSpPr>
            <a:spLocks noGrp="1"/>
          </p:cNvSpPr>
          <p:nvPr>
            <p:ph type="body" idx="1"/>
          </p:nvPr>
        </p:nvSpPr>
        <p:spPr>
          <a:xfrm>
            <a:off x="839777" y="1681419"/>
            <a:ext cx="5158605"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a:t>Edit Master text styles</a:t>
            </a:r>
          </a:p>
        </p:txBody>
      </p:sp>
      <p:sp>
        <p:nvSpPr>
          <p:cNvPr id="4" name="Content Placeholder 3"/>
          <p:cNvSpPr>
            <a:spLocks noGrp="1"/>
          </p:cNvSpPr>
          <p:nvPr>
            <p:ph sz="half" idx="2"/>
          </p:nvPr>
        </p:nvSpPr>
        <p:spPr>
          <a:xfrm>
            <a:off x="839777" y="2505368"/>
            <a:ext cx="5158605" cy="36839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ext Placeholder 4"/>
          <p:cNvSpPr>
            <a:spLocks noGrp="1"/>
          </p:cNvSpPr>
          <p:nvPr>
            <p:ph type="body" sz="quarter" idx="3"/>
          </p:nvPr>
        </p:nvSpPr>
        <p:spPr>
          <a:xfrm>
            <a:off x="6172451" y="1681419"/>
            <a:ext cx="5182129"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a:t>Edit Master text styles</a:t>
            </a:r>
          </a:p>
        </p:txBody>
      </p:sp>
      <p:sp>
        <p:nvSpPr>
          <p:cNvPr id="6" name="Content Placeholder 5"/>
          <p:cNvSpPr>
            <a:spLocks noGrp="1"/>
          </p:cNvSpPr>
          <p:nvPr>
            <p:ph sz="quarter" idx="4"/>
          </p:nvPr>
        </p:nvSpPr>
        <p:spPr>
          <a:xfrm>
            <a:off x="6172451" y="2505368"/>
            <a:ext cx="5182129" cy="36839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286853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142083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5047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2129" y="988034"/>
            <a:ext cx="6172450" cy="4873114"/>
          </a:xfrm>
        </p:spPr>
        <p:txBody>
          <a:bodyPr/>
          <a:lstStyle>
            <a:lvl1pPr>
              <a:defRPr sz="3200"/>
            </a:lvl1pPr>
            <a:lvl2pPr>
              <a:defRPr sz="2800"/>
            </a:lvl2pPr>
            <a:lvl3pPr>
              <a:defRPr sz="2400"/>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a:t>Edit Master text styles</a:t>
            </a:r>
          </a:p>
        </p:txBody>
      </p:sp>
    </p:spTree>
    <p:extLst>
      <p:ext uri="{BB962C8B-B14F-4D97-AF65-F5344CB8AC3E}">
        <p14:creationId xmlns:p14="http://schemas.microsoft.com/office/powerpoint/2010/main" val="2490725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67" indent="0">
              <a:buNone/>
              <a:defRPr sz="1999">
                <a:solidFill>
                  <a:schemeClr val="tx1">
                    <a:tint val="75000"/>
                  </a:schemeClr>
                </a:solidFill>
              </a:defRPr>
            </a:lvl2pPr>
            <a:lvl3pPr marL="914333" indent="0">
              <a:buNone/>
              <a:defRPr sz="1799">
                <a:solidFill>
                  <a:schemeClr val="tx1">
                    <a:tint val="75000"/>
                  </a:schemeClr>
                </a:solidFill>
              </a:defRPr>
            </a:lvl3pPr>
            <a:lvl4pPr marL="1371500" indent="0">
              <a:buNone/>
              <a:defRPr sz="1600">
                <a:solidFill>
                  <a:schemeClr val="tx1">
                    <a:tint val="75000"/>
                  </a:schemeClr>
                </a:solidFill>
              </a:defRPr>
            </a:lvl4pPr>
            <a:lvl5pPr marL="1828665" indent="0">
              <a:buNone/>
              <a:defRPr sz="1600">
                <a:solidFill>
                  <a:schemeClr val="tx1">
                    <a:tint val="75000"/>
                  </a:schemeClr>
                </a:solidFill>
              </a:defRPr>
            </a:lvl5pPr>
            <a:lvl6pPr marL="2285832" indent="0">
              <a:buNone/>
              <a:defRPr sz="1600">
                <a:solidFill>
                  <a:schemeClr val="tx1">
                    <a:tint val="75000"/>
                  </a:schemeClr>
                </a:solidFill>
              </a:defRPr>
            </a:lvl6pPr>
            <a:lvl7pPr marL="2742999" indent="0">
              <a:buNone/>
              <a:defRPr sz="1600">
                <a:solidFill>
                  <a:schemeClr val="tx1">
                    <a:tint val="75000"/>
                  </a:schemeClr>
                </a:solidFill>
              </a:defRPr>
            </a:lvl7pPr>
            <a:lvl8pPr marL="3200165" indent="0">
              <a:buNone/>
              <a:defRPr sz="1600">
                <a:solidFill>
                  <a:schemeClr val="tx1">
                    <a:tint val="75000"/>
                  </a:schemeClr>
                </a:solidFill>
              </a:defRPr>
            </a:lvl8pPr>
            <a:lvl9pPr marL="3657332"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93CD2C3-DA4D-431A-B170-6BF6CC2E0FC8}" type="datetimeFigureOut">
              <a:rPr lang="en-IN" smtClean="0"/>
              <a:t>24-09-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9318789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2129" y="988034"/>
            <a:ext cx="6172450" cy="4873114"/>
          </a:xfrm>
        </p:spPr>
        <p:txBody>
          <a:bodyPr/>
          <a:lstStyle>
            <a:lvl1pPr marL="0" indent="0">
              <a:buNone/>
              <a:defRPr sz="3200"/>
            </a:lvl1pPr>
            <a:lvl2pPr marL="457183" indent="0">
              <a:buNone/>
              <a:defRPr sz="2800"/>
            </a:lvl2pPr>
            <a:lvl3pPr marL="914367" indent="0">
              <a:buNone/>
              <a:defRPr sz="2400"/>
            </a:lvl3pPr>
            <a:lvl4pPr marL="1371551" indent="0">
              <a:buNone/>
              <a:defRPr sz="1999"/>
            </a:lvl4pPr>
            <a:lvl5pPr marL="1828734" indent="0">
              <a:buNone/>
              <a:defRPr sz="1999"/>
            </a:lvl5pPr>
            <a:lvl6pPr marL="2285919" indent="0">
              <a:buNone/>
              <a:defRPr sz="1999"/>
            </a:lvl6pPr>
            <a:lvl7pPr marL="2743102" indent="0">
              <a:buNone/>
              <a:defRPr sz="1999"/>
            </a:lvl7pPr>
            <a:lvl8pPr marL="3200286" indent="0">
              <a:buNone/>
              <a:defRPr sz="1999"/>
            </a:lvl8pPr>
            <a:lvl9pPr marL="3657470" indent="0">
              <a:buNone/>
              <a:defRPr sz="1999"/>
            </a:lvl9pPr>
          </a:lstStyle>
          <a:p>
            <a:r>
              <a:rPr lang="en-US"/>
              <a:t>Click icon to add picture</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a:t>Edit Master text styles</a:t>
            </a:r>
          </a:p>
        </p:txBody>
      </p:sp>
    </p:spTree>
    <p:extLst>
      <p:ext uri="{BB962C8B-B14F-4D97-AF65-F5344CB8AC3E}">
        <p14:creationId xmlns:p14="http://schemas.microsoft.com/office/powerpoint/2010/main" val="12145735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4501678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7053" y="365221"/>
            <a:ext cx="2627526" cy="5811744"/>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7423" y="365221"/>
            <a:ext cx="7663811" cy="58117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5434333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411520" cy="141147"/>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11" b="0" i="0" u="none" spc="0">
                <a:solidFill>
                  <a:schemeClr val="tx1"/>
                </a:solidFill>
                <a:latin typeface="Bosch Office Sans" pitchFamily="2" charset="0"/>
              </a:defRPr>
            </a:lvl1pPr>
            <a:lvl2pPr marL="457183" indent="0" algn="ctr">
              <a:buNone/>
              <a:defRPr sz="1999"/>
            </a:lvl2pPr>
            <a:lvl3pPr marL="914367" indent="0" algn="ctr">
              <a:buNone/>
              <a:defRPr sz="1799"/>
            </a:lvl3pPr>
            <a:lvl4pPr marL="1371551" indent="0" algn="ctr">
              <a:buNone/>
              <a:defRPr sz="1600"/>
            </a:lvl4pPr>
            <a:lvl5pPr marL="1828734" indent="0" algn="ctr">
              <a:buNone/>
              <a:defRPr sz="1600"/>
            </a:lvl5pPr>
            <a:lvl6pPr marL="2285919" indent="0" algn="ctr">
              <a:buNone/>
              <a:defRPr sz="1600"/>
            </a:lvl6pPr>
            <a:lvl7pPr marL="2743102" indent="0" algn="ctr">
              <a:buNone/>
              <a:defRPr sz="1600"/>
            </a:lvl7pPr>
            <a:lvl8pPr marL="3200286" indent="0" algn="ctr">
              <a:buNone/>
              <a:defRPr sz="1600"/>
            </a:lvl8pPr>
            <a:lvl9pPr marL="3657470" indent="0" algn="ctr">
              <a:buNone/>
              <a:defRPr sz="1600"/>
            </a:lvl9pPr>
          </a:lstStyle>
          <a:p>
            <a:r>
              <a:rPr lang="en-US" smtClean="0"/>
              <a:t>Click to edit Master subtitle style</a:t>
            </a:r>
            <a:endParaRPr lang="de-DE" dirty="0"/>
          </a:p>
        </p:txBody>
      </p:sp>
      <p:sp>
        <p:nvSpPr>
          <p:cNvPr id="2" name="Title 1"/>
          <p:cNvSpPr>
            <a:spLocks noGrp="1"/>
          </p:cNvSpPr>
          <p:nvPr>
            <p:ph type="ctrTitle"/>
            <p:custDataLst>
              <p:tags r:id="rId2"/>
            </p:custDataLst>
          </p:nvPr>
        </p:nvSpPr>
        <p:spPr>
          <a:xfrm>
            <a:off x="287950" y="287940"/>
            <a:ext cx="10973153" cy="578422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891" b="0" i="0" u="none" cap="all" spc="0">
                <a:solidFill>
                  <a:srgbClr val="FFFFFF"/>
                </a:solidFill>
                <a:latin typeface="Bosch Office Sans" pitchFamily="2" charset="0"/>
              </a:defRPr>
            </a:lvl1pPr>
          </a:lstStyle>
          <a:p>
            <a:r>
              <a:rPr lang="en-US" smtClean="0"/>
              <a:t>Click to edit Master title style</a:t>
            </a:r>
            <a:endParaRPr lang="de-DE" dirty="0"/>
          </a:p>
        </p:txBody>
      </p:sp>
    </p:spTree>
    <p:extLst>
      <p:ext uri="{BB962C8B-B14F-4D97-AF65-F5344CB8AC3E}">
        <p14:creationId xmlns:p14="http://schemas.microsoft.com/office/powerpoint/2010/main" val="42303329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6287576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719" y="1709651"/>
            <a:ext cx="10514805" cy="2852941"/>
          </a:xfrm>
        </p:spPr>
        <p:txBody>
          <a:bodyPr anchor="b"/>
          <a:lstStyle>
            <a:lvl1pPr>
              <a:defRPr sz="5999"/>
            </a:lvl1pPr>
          </a:lstStyle>
          <a:p>
            <a:r>
              <a:rPr lang="en-US" smtClean="0"/>
              <a:t>Click to edit Master title style</a:t>
            </a:r>
            <a:endParaRPr lang="de-DE"/>
          </a:p>
        </p:txBody>
      </p:sp>
      <p:sp>
        <p:nvSpPr>
          <p:cNvPr id="3" name="Text Placeholder 2"/>
          <p:cNvSpPr>
            <a:spLocks noGrp="1"/>
          </p:cNvSpPr>
          <p:nvPr>
            <p:ph type="body" idx="1"/>
          </p:nvPr>
        </p:nvSpPr>
        <p:spPr>
          <a:xfrm>
            <a:off x="832719" y="4589055"/>
            <a:ext cx="10514805" cy="1501455"/>
          </a:xfrm>
        </p:spPr>
        <p:txBody>
          <a:bodyPr/>
          <a:lstStyle>
            <a:lvl1pPr marL="0" indent="0">
              <a:buNone/>
              <a:defRPr sz="2400">
                <a:solidFill>
                  <a:schemeClr val="tx1">
                    <a:tint val="75000"/>
                  </a:schemeClr>
                </a:solidFill>
              </a:defRPr>
            </a:lvl1pPr>
            <a:lvl2pPr marL="457183" indent="0">
              <a:buNone/>
              <a:defRPr sz="1999">
                <a:solidFill>
                  <a:schemeClr val="tx1">
                    <a:tint val="75000"/>
                  </a:schemeClr>
                </a:solidFill>
              </a:defRPr>
            </a:lvl2pPr>
            <a:lvl3pPr marL="914367" indent="0">
              <a:buNone/>
              <a:defRPr sz="1799">
                <a:solidFill>
                  <a:schemeClr val="tx1">
                    <a:tint val="75000"/>
                  </a:schemeClr>
                </a:solidFill>
              </a:defRPr>
            </a:lvl3pPr>
            <a:lvl4pPr marL="1371551" indent="0">
              <a:buNone/>
              <a:defRPr sz="1600">
                <a:solidFill>
                  <a:schemeClr val="tx1">
                    <a:tint val="75000"/>
                  </a:schemeClr>
                </a:solidFill>
              </a:defRPr>
            </a:lvl4pPr>
            <a:lvl5pPr marL="1828734" indent="0">
              <a:buNone/>
              <a:defRPr sz="1600">
                <a:solidFill>
                  <a:schemeClr val="tx1">
                    <a:tint val="75000"/>
                  </a:schemeClr>
                </a:solidFill>
              </a:defRPr>
            </a:lvl5pPr>
            <a:lvl6pPr marL="2285919" indent="0">
              <a:buNone/>
              <a:defRPr sz="1600">
                <a:solidFill>
                  <a:schemeClr val="tx1">
                    <a:tint val="75000"/>
                  </a:schemeClr>
                </a:solidFill>
              </a:defRPr>
            </a:lvl6pPr>
            <a:lvl7pPr marL="2743102" indent="0">
              <a:buNone/>
              <a:defRPr sz="1600">
                <a:solidFill>
                  <a:schemeClr val="tx1">
                    <a:tint val="75000"/>
                  </a:schemeClr>
                </a:solidFill>
              </a:defRPr>
            </a:lvl7pPr>
            <a:lvl8pPr marL="3200286" indent="0">
              <a:buNone/>
              <a:defRPr sz="1600">
                <a:solidFill>
                  <a:schemeClr val="tx1">
                    <a:tint val="75000"/>
                  </a:schemeClr>
                </a:solidFill>
              </a:defRPr>
            </a:lvl8pPr>
            <a:lvl9pPr marL="365747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45908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384075" y="1440370"/>
            <a:ext cx="5403709" cy="463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6401236" y="1440369"/>
            <a:ext cx="5403709" cy="463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1546518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76" y="365219"/>
            <a:ext cx="10514805" cy="1325021"/>
          </a:xfrm>
        </p:spPr>
        <p:txBody>
          <a:bodyPr/>
          <a:lstStyle/>
          <a:p>
            <a:r>
              <a:rPr lang="en-US" smtClean="0"/>
              <a:t>Click to edit Master title style</a:t>
            </a:r>
            <a:endParaRPr lang="de-DE"/>
          </a:p>
        </p:txBody>
      </p:sp>
      <p:sp>
        <p:nvSpPr>
          <p:cNvPr id="3" name="Text Placeholder 2"/>
          <p:cNvSpPr>
            <a:spLocks noGrp="1"/>
          </p:cNvSpPr>
          <p:nvPr>
            <p:ph type="body" idx="1"/>
          </p:nvPr>
        </p:nvSpPr>
        <p:spPr>
          <a:xfrm>
            <a:off x="839777" y="1681419"/>
            <a:ext cx="5158605"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77" y="2505368"/>
            <a:ext cx="5158605" cy="36839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5" name="Text Placeholder 4"/>
          <p:cNvSpPr>
            <a:spLocks noGrp="1"/>
          </p:cNvSpPr>
          <p:nvPr>
            <p:ph type="body" sz="quarter" idx="3"/>
          </p:nvPr>
        </p:nvSpPr>
        <p:spPr>
          <a:xfrm>
            <a:off x="6172451" y="1681419"/>
            <a:ext cx="5182129"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451" y="2505368"/>
            <a:ext cx="5182129" cy="36839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21023500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28283358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934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93CD2C3-DA4D-431A-B170-6BF6CC2E0FC8}" type="datetimeFigureOut">
              <a:rPr lang="en-IN" smtClean="0"/>
              <a:t>24-09-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21504627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smtClean="0"/>
              <a:t>Click to edit Master title style</a:t>
            </a:r>
            <a:endParaRPr lang="de-DE"/>
          </a:p>
        </p:txBody>
      </p:sp>
      <p:sp>
        <p:nvSpPr>
          <p:cNvPr id="3" name="Content Placeholder 2"/>
          <p:cNvSpPr>
            <a:spLocks noGrp="1"/>
          </p:cNvSpPr>
          <p:nvPr>
            <p:ph idx="1"/>
          </p:nvPr>
        </p:nvSpPr>
        <p:spPr>
          <a:xfrm>
            <a:off x="5182129" y="988034"/>
            <a:ext cx="6172450" cy="4873114"/>
          </a:xfrm>
        </p:spPr>
        <p:txBody>
          <a:bodyPr/>
          <a:lstStyle>
            <a:lvl1pPr>
              <a:defRPr sz="3200"/>
            </a:lvl1pPr>
            <a:lvl2pPr>
              <a:defRPr sz="2800"/>
            </a:lvl2pPr>
            <a:lvl3pPr>
              <a:defRPr sz="2400"/>
            </a:lvl3pPr>
            <a:lvl4pPr>
              <a:defRPr sz="1999"/>
            </a:lvl4pPr>
            <a:lvl5pPr>
              <a:defRPr sz="1999"/>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smtClean="0"/>
              <a:t>Click to edit Master text styles</a:t>
            </a:r>
          </a:p>
        </p:txBody>
      </p:sp>
    </p:spTree>
    <p:extLst>
      <p:ext uri="{BB962C8B-B14F-4D97-AF65-F5344CB8AC3E}">
        <p14:creationId xmlns:p14="http://schemas.microsoft.com/office/powerpoint/2010/main" val="3459929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smtClean="0"/>
              <a:t>Click to edit Master title style</a:t>
            </a:r>
            <a:endParaRPr lang="de-DE"/>
          </a:p>
        </p:txBody>
      </p:sp>
      <p:sp>
        <p:nvSpPr>
          <p:cNvPr id="3" name="Picture Placeholder 2"/>
          <p:cNvSpPr>
            <a:spLocks noGrp="1"/>
          </p:cNvSpPr>
          <p:nvPr>
            <p:ph type="pic" idx="1"/>
          </p:nvPr>
        </p:nvSpPr>
        <p:spPr>
          <a:xfrm>
            <a:off x="5182129" y="988034"/>
            <a:ext cx="6172450" cy="4873114"/>
          </a:xfrm>
        </p:spPr>
        <p:txBody>
          <a:bodyPr/>
          <a:lstStyle>
            <a:lvl1pPr marL="0" indent="0">
              <a:buNone/>
              <a:defRPr sz="3200"/>
            </a:lvl1pPr>
            <a:lvl2pPr marL="457183" indent="0">
              <a:buNone/>
              <a:defRPr sz="2800"/>
            </a:lvl2pPr>
            <a:lvl3pPr marL="914367" indent="0">
              <a:buNone/>
              <a:defRPr sz="2400"/>
            </a:lvl3pPr>
            <a:lvl4pPr marL="1371551" indent="0">
              <a:buNone/>
              <a:defRPr sz="1999"/>
            </a:lvl4pPr>
            <a:lvl5pPr marL="1828734" indent="0">
              <a:buNone/>
              <a:defRPr sz="1999"/>
            </a:lvl5pPr>
            <a:lvl6pPr marL="2285919" indent="0">
              <a:buNone/>
              <a:defRPr sz="1999"/>
            </a:lvl6pPr>
            <a:lvl7pPr marL="2743102" indent="0">
              <a:buNone/>
              <a:defRPr sz="1999"/>
            </a:lvl7pPr>
            <a:lvl8pPr marL="3200286" indent="0">
              <a:buNone/>
              <a:defRPr sz="1999"/>
            </a:lvl8pPr>
            <a:lvl9pPr marL="3657470" indent="0">
              <a:buNone/>
              <a:defRPr sz="1999"/>
            </a:lvl9pPr>
          </a:lstStyle>
          <a:p>
            <a:r>
              <a:rPr lang="en-US" smtClean="0"/>
              <a:t>Click icon to add picture</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smtClean="0"/>
              <a:t>Click to edit Master text styles</a:t>
            </a:r>
          </a:p>
        </p:txBody>
      </p:sp>
    </p:spTree>
    <p:extLst>
      <p:ext uri="{BB962C8B-B14F-4D97-AF65-F5344CB8AC3E}">
        <p14:creationId xmlns:p14="http://schemas.microsoft.com/office/powerpoint/2010/main" val="583390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42925729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7053" y="365221"/>
            <a:ext cx="2627526" cy="5811744"/>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837423" y="365221"/>
            <a:ext cx="7663811" cy="5811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28819065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411520" cy="141147"/>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11" b="0" i="0" u="none" spc="0">
                <a:solidFill>
                  <a:schemeClr val="tx1"/>
                </a:solidFill>
                <a:latin typeface="Bosch Office Sans" panose="020B0604020202020204" pitchFamily="34" charset="0"/>
              </a:defRPr>
            </a:lvl1pPr>
            <a:lvl2pPr marL="457183" indent="0" algn="ctr">
              <a:buNone/>
              <a:defRPr sz="1999"/>
            </a:lvl2pPr>
            <a:lvl3pPr marL="914367" indent="0" algn="ctr">
              <a:buNone/>
              <a:defRPr sz="1799"/>
            </a:lvl3pPr>
            <a:lvl4pPr marL="1371551" indent="0" algn="ctr">
              <a:buNone/>
              <a:defRPr sz="1600"/>
            </a:lvl4pPr>
            <a:lvl5pPr marL="1828734" indent="0" algn="ctr">
              <a:buNone/>
              <a:defRPr sz="1600"/>
            </a:lvl5pPr>
            <a:lvl6pPr marL="2285919" indent="0" algn="ctr">
              <a:buNone/>
              <a:defRPr sz="1600"/>
            </a:lvl6pPr>
            <a:lvl7pPr marL="2743102" indent="0" algn="ctr">
              <a:buNone/>
              <a:defRPr sz="1600"/>
            </a:lvl7pPr>
            <a:lvl8pPr marL="3200286" indent="0" algn="ctr">
              <a:buNone/>
              <a:defRPr sz="1600"/>
            </a:lvl8pPr>
            <a:lvl9pPr marL="3657470" indent="0" algn="ctr">
              <a:buNone/>
              <a:defRPr sz="1600"/>
            </a:lvl9pPr>
          </a:lstStyle>
          <a:p>
            <a:r>
              <a:rPr lang="en-US" smtClean="0"/>
              <a:t>Click to edit Master subtitle style</a:t>
            </a:r>
            <a:endParaRPr lang="de-DE" dirty="0"/>
          </a:p>
        </p:txBody>
      </p:sp>
      <p:sp>
        <p:nvSpPr>
          <p:cNvPr id="2" name="Title 1"/>
          <p:cNvSpPr>
            <a:spLocks noGrp="1"/>
          </p:cNvSpPr>
          <p:nvPr>
            <p:ph type="ctrTitle"/>
            <p:custDataLst>
              <p:tags r:id="rId2"/>
            </p:custDataLst>
          </p:nvPr>
        </p:nvSpPr>
        <p:spPr>
          <a:xfrm>
            <a:off x="287950" y="287940"/>
            <a:ext cx="10973153" cy="578422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891" b="0" i="0" u="none" cap="all" spc="0">
                <a:solidFill>
                  <a:srgbClr val="FFFFFF"/>
                </a:solidFill>
                <a:latin typeface="Bosch Office Sans" panose="020B0604020202020204" pitchFamily="34" charset="0"/>
              </a:defRPr>
            </a:lvl1pPr>
          </a:lstStyle>
          <a:p>
            <a:r>
              <a:rPr lang="en-US" smtClean="0"/>
              <a:t>Click to edit Master title style</a:t>
            </a:r>
            <a:endParaRPr lang="de-DE" dirty="0"/>
          </a:p>
        </p:txBody>
      </p:sp>
    </p:spTree>
    <p:extLst>
      <p:ext uri="{BB962C8B-B14F-4D97-AF65-F5344CB8AC3E}">
        <p14:creationId xmlns:p14="http://schemas.microsoft.com/office/powerpoint/2010/main" val="28436957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3781152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720" y="1709654"/>
            <a:ext cx="10514804" cy="2852941"/>
          </a:xfrm>
        </p:spPr>
        <p:txBody>
          <a:bodyPr anchor="b"/>
          <a:lstStyle>
            <a:lvl1pPr>
              <a:defRPr sz="5999"/>
            </a:lvl1pPr>
          </a:lstStyle>
          <a:p>
            <a:r>
              <a:rPr lang="en-US" smtClean="0"/>
              <a:t>Click to edit Master title style</a:t>
            </a:r>
            <a:endParaRPr lang="de-DE"/>
          </a:p>
        </p:txBody>
      </p:sp>
      <p:sp>
        <p:nvSpPr>
          <p:cNvPr id="3" name="Text Placeholder 2"/>
          <p:cNvSpPr>
            <a:spLocks noGrp="1"/>
          </p:cNvSpPr>
          <p:nvPr>
            <p:ph type="body" idx="1"/>
          </p:nvPr>
        </p:nvSpPr>
        <p:spPr>
          <a:xfrm>
            <a:off x="832720" y="4589055"/>
            <a:ext cx="10514804" cy="1501455"/>
          </a:xfrm>
        </p:spPr>
        <p:txBody>
          <a:bodyPr/>
          <a:lstStyle>
            <a:lvl1pPr marL="0" indent="0">
              <a:buNone/>
              <a:defRPr sz="2400">
                <a:solidFill>
                  <a:schemeClr val="tx1">
                    <a:tint val="75000"/>
                  </a:schemeClr>
                </a:solidFill>
              </a:defRPr>
            </a:lvl1pPr>
            <a:lvl2pPr marL="457183" indent="0">
              <a:buNone/>
              <a:defRPr sz="1999">
                <a:solidFill>
                  <a:schemeClr val="tx1">
                    <a:tint val="75000"/>
                  </a:schemeClr>
                </a:solidFill>
              </a:defRPr>
            </a:lvl2pPr>
            <a:lvl3pPr marL="914367" indent="0">
              <a:buNone/>
              <a:defRPr sz="1799">
                <a:solidFill>
                  <a:schemeClr val="tx1">
                    <a:tint val="75000"/>
                  </a:schemeClr>
                </a:solidFill>
              </a:defRPr>
            </a:lvl3pPr>
            <a:lvl4pPr marL="1371551" indent="0">
              <a:buNone/>
              <a:defRPr sz="1600">
                <a:solidFill>
                  <a:schemeClr val="tx1">
                    <a:tint val="75000"/>
                  </a:schemeClr>
                </a:solidFill>
              </a:defRPr>
            </a:lvl4pPr>
            <a:lvl5pPr marL="1828734" indent="0">
              <a:buNone/>
              <a:defRPr sz="1600">
                <a:solidFill>
                  <a:schemeClr val="tx1">
                    <a:tint val="75000"/>
                  </a:schemeClr>
                </a:solidFill>
              </a:defRPr>
            </a:lvl5pPr>
            <a:lvl6pPr marL="2285919" indent="0">
              <a:buNone/>
              <a:defRPr sz="1600">
                <a:solidFill>
                  <a:schemeClr val="tx1">
                    <a:tint val="75000"/>
                  </a:schemeClr>
                </a:solidFill>
              </a:defRPr>
            </a:lvl6pPr>
            <a:lvl7pPr marL="2743102" indent="0">
              <a:buNone/>
              <a:defRPr sz="1600">
                <a:solidFill>
                  <a:schemeClr val="tx1">
                    <a:tint val="75000"/>
                  </a:schemeClr>
                </a:solidFill>
              </a:defRPr>
            </a:lvl7pPr>
            <a:lvl8pPr marL="3200286" indent="0">
              <a:buNone/>
              <a:defRPr sz="1600">
                <a:solidFill>
                  <a:schemeClr val="tx1">
                    <a:tint val="75000"/>
                  </a:schemeClr>
                </a:solidFill>
              </a:defRPr>
            </a:lvl8pPr>
            <a:lvl9pPr marL="365747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9962854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384076" y="1440370"/>
            <a:ext cx="5403709" cy="463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6401236" y="1440369"/>
            <a:ext cx="5403709" cy="463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28863067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78" y="365219"/>
            <a:ext cx="10514804" cy="1325021"/>
          </a:xfrm>
        </p:spPr>
        <p:txBody>
          <a:bodyPr/>
          <a:lstStyle/>
          <a:p>
            <a:r>
              <a:rPr lang="en-US" smtClean="0"/>
              <a:t>Click to edit Master title style</a:t>
            </a:r>
            <a:endParaRPr lang="de-DE"/>
          </a:p>
        </p:txBody>
      </p:sp>
      <p:sp>
        <p:nvSpPr>
          <p:cNvPr id="3" name="Text Placeholder 2"/>
          <p:cNvSpPr>
            <a:spLocks noGrp="1"/>
          </p:cNvSpPr>
          <p:nvPr>
            <p:ph type="body" idx="1"/>
          </p:nvPr>
        </p:nvSpPr>
        <p:spPr>
          <a:xfrm>
            <a:off x="839778" y="1681419"/>
            <a:ext cx="5158605"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78" y="2505368"/>
            <a:ext cx="5158605" cy="36839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6172452" y="1681419"/>
            <a:ext cx="5182129"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452" y="2505368"/>
            <a:ext cx="5182129" cy="36839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2999107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31630" y="322150"/>
            <a:ext cx="9137762" cy="432111"/>
          </a:xfrm>
        </p:spPr>
        <p:txBody>
          <a:bodyPr/>
          <a:lstStyle/>
          <a:p>
            <a:r>
              <a:rPr lang="en-US" smtClean="0"/>
              <a:t>Click to edit Master title style</a:t>
            </a:r>
            <a:endParaRPr lang="de-DE"/>
          </a:p>
        </p:txBody>
      </p:sp>
    </p:spTree>
    <p:extLst>
      <p:ext uri="{BB962C8B-B14F-4D97-AF65-F5344CB8AC3E}">
        <p14:creationId xmlns:p14="http://schemas.microsoft.com/office/powerpoint/2010/main" val="38627681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67" indent="0">
              <a:buNone/>
              <a:defRPr sz="1999" b="1"/>
            </a:lvl2pPr>
            <a:lvl3pPr marL="914333" indent="0">
              <a:buNone/>
              <a:defRPr sz="1799" b="1"/>
            </a:lvl3pPr>
            <a:lvl4pPr marL="1371500" indent="0">
              <a:buNone/>
              <a:defRPr sz="1600" b="1"/>
            </a:lvl4pPr>
            <a:lvl5pPr marL="1828665" indent="0">
              <a:buNone/>
              <a:defRPr sz="1600" b="1"/>
            </a:lvl5pPr>
            <a:lvl6pPr marL="2285832" indent="0">
              <a:buNone/>
              <a:defRPr sz="1600" b="1"/>
            </a:lvl6pPr>
            <a:lvl7pPr marL="2742999" indent="0">
              <a:buNone/>
              <a:defRPr sz="1600" b="1"/>
            </a:lvl7pPr>
            <a:lvl8pPr marL="3200165" indent="0">
              <a:buNone/>
              <a:defRPr sz="1600" b="1"/>
            </a:lvl8pPr>
            <a:lvl9pPr marL="3657332"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6"/>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67" indent="0">
              <a:buNone/>
              <a:defRPr sz="1999" b="1"/>
            </a:lvl2pPr>
            <a:lvl3pPr marL="914333" indent="0">
              <a:buNone/>
              <a:defRPr sz="1799" b="1"/>
            </a:lvl3pPr>
            <a:lvl4pPr marL="1371500" indent="0">
              <a:buNone/>
              <a:defRPr sz="1600" b="1"/>
            </a:lvl4pPr>
            <a:lvl5pPr marL="1828665" indent="0">
              <a:buNone/>
              <a:defRPr sz="1600" b="1"/>
            </a:lvl5pPr>
            <a:lvl6pPr marL="2285832" indent="0">
              <a:buNone/>
              <a:defRPr sz="1600" b="1"/>
            </a:lvl6pPr>
            <a:lvl7pPr marL="2742999" indent="0">
              <a:buNone/>
              <a:defRPr sz="1600" b="1"/>
            </a:lvl7pPr>
            <a:lvl8pPr marL="3200165" indent="0">
              <a:buNone/>
              <a:defRPr sz="1600" b="1"/>
            </a:lvl8pPr>
            <a:lvl9pPr marL="3657332"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6"/>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93CD2C3-DA4D-431A-B170-6BF6CC2E0FC8}" type="datetimeFigureOut">
              <a:rPr lang="en-IN" smtClean="0"/>
              <a:t>24-09-2019</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2933134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7745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smtClean="0"/>
              <a:t>Click to edit Master title style</a:t>
            </a:r>
            <a:endParaRPr lang="de-DE"/>
          </a:p>
        </p:txBody>
      </p:sp>
      <p:sp>
        <p:nvSpPr>
          <p:cNvPr id="3" name="Content Placeholder 2"/>
          <p:cNvSpPr>
            <a:spLocks noGrp="1"/>
          </p:cNvSpPr>
          <p:nvPr>
            <p:ph idx="1"/>
          </p:nvPr>
        </p:nvSpPr>
        <p:spPr>
          <a:xfrm>
            <a:off x="5182129" y="988036"/>
            <a:ext cx="6172452" cy="4873114"/>
          </a:xfrm>
        </p:spPr>
        <p:txBody>
          <a:bodyPr/>
          <a:lstStyle>
            <a:lvl1pPr>
              <a:defRPr sz="3200"/>
            </a:lvl1pPr>
            <a:lvl2pPr>
              <a:defRPr sz="2800"/>
            </a:lvl2pPr>
            <a:lvl3pPr>
              <a:defRPr sz="2400"/>
            </a:lvl3pPr>
            <a:lvl4pPr>
              <a:defRPr sz="1999"/>
            </a:lvl4pPr>
            <a:lvl5pPr>
              <a:defRPr sz="1999"/>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smtClean="0"/>
              <a:t>Click to edit Master text styles</a:t>
            </a:r>
          </a:p>
        </p:txBody>
      </p:sp>
    </p:spTree>
    <p:extLst>
      <p:ext uri="{BB962C8B-B14F-4D97-AF65-F5344CB8AC3E}">
        <p14:creationId xmlns:p14="http://schemas.microsoft.com/office/powerpoint/2010/main" val="3667083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smtClean="0"/>
              <a:t>Click to edit Master title style</a:t>
            </a:r>
            <a:endParaRPr lang="de-DE"/>
          </a:p>
        </p:txBody>
      </p:sp>
      <p:sp>
        <p:nvSpPr>
          <p:cNvPr id="3" name="Picture Placeholder 2"/>
          <p:cNvSpPr>
            <a:spLocks noGrp="1"/>
          </p:cNvSpPr>
          <p:nvPr>
            <p:ph type="pic" idx="1"/>
          </p:nvPr>
        </p:nvSpPr>
        <p:spPr>
          <a:xfrm>
            <a:off x="5182129" y="988036"/>
            <a:ext cx="6172452" cy="4873114"/>
          </a:xfrm>
        </p:spPr>
        <p:txBody>
          <a:bodyPr/>
          <a:lstStyle>
            <a:lvl1pPr marL="0" indent="0">
              <a:buNone/>
              <a:defRPr sz="3200"/>
            </a:lvl1pPr>
            <a:lvl2pPr marL="457183" indent="0">
              <a:buNone/>
              <a:defRPr sz="2800"/>
            </a:lvl2pPr>
            <a:lvl3pPr marL="914367" indent="0">
              <a:buNone/>
              <a:defRPr sz="2400"/>
            </a:lvl3pPr>
            <a:lvl4pPr marL="1371551" indent="0">
              <a:buNone/>
              <a:defRPr sz="1999"/>
            </a:lvl4pPr>
            <a:lvl5pPr marL="1828734" indent="0">
              <a:buNone/>
              <a:defRPr sz="1999"/>
            </a:lvl5pPr>
            <a:lvl6pPr marL="2285919" indent="0">
              <a:buNone/>
              <a:defRPr sz="1999"/>
            </a:lvl6pPr>
            <a:lvl7pPr marL="2743102" indent="0">
              <a:buNone/>
              <a:defRPr sz="1999"/>
            </a:lvl7pPr>
            <a:lvl8pPr marL="3200286" indent="0">
              <a:buNone/>
              <a:defRPr sz="1999"/>
            </a:lvl8pPr>
            <a:lvl9pPr marL="3657470" indent="0">
              <a:buNone/>
              <a:defRPr sz="1999"/>
            </a:lvl9pPr>
          </a:lstStyle>
          <a:p>
            <a:r>
              <a:rPr lang="en-US" dirty="0" smtClean="0"/>
              <a:t>Click icon to add picture</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smtClean="0"/>
              <a:t>Click to edit Master text styles</a:t>
            </a:r>
          </a:p>
        </p:txBody>
      </p:sp>
    </p:spTree>
    <p:extLst>
      <p:ext uri="{BB962C8B-B14F-4D97-AF65-F5344CB8AC3E}">
        <p14:creationId xmlns:p14="http://schemas.microsoft.com/office/powerpoint/2010/main" val="7378895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3603271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7053" y="365224"/>
            <a:ext cx="2627526" cy="5811744"/>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837424" y="365224"/>
            <a:ext cx="7663811" cy="5811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517445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693508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9"/>
            <a:ext cx="11184002"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2"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10800"/>
            <a:ext cx="11184002"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98276680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9"/>
            <a:ext cx="11184002"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2"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10800"/>
            <a:ext cx="11184002"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767543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2"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357203"/>
            <a:ext cx="11184002" cy="5000758"/>
          </a:xfrm>
        </p:spPr>
        <p:txBody>
          <a:bodyPr/>
          <a:lstStyle>
            <a:lvl1pPr marL="0" indent="0" algn="l">
              <a:buNone/>
              <a:defRPr/>
            </a:lvl1pPr>
            <a:lvl2pPr marL="271473" indent="-27147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424697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2"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9"/>
            <a:ext cx="11184002"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1" y="1810800"/>
            <a:ext cx="5520001"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51" y="1810800"/>
            <a:ext cx="5520001" cy="4536000"/>
          </a:xfrm>
        </p:spPr>
        <p:txBody>
          <a:bodyPr/>
          <a:lstStyle/>
          <a:p>
            <a:r>
              <a:rPr lang="en-US" dirty="0" smtClean="0"/>
              <a:t>Click icon to add chart</a:t>
            </a:r>
            <a:endParaRPr lang="en-GB" dirty="0"/>
          </a:p>
        </p:txBody>
      </p:sp>
    </p:spTree>
    <p:extLst>
      <p:ext uri="{BB962C8B-B14F-4D97-AF65-F5344CB8AC3E}">
        <p14:creationId xmlns:p14="http://schemas.microsoft.com/office/powerpoint/2010/main" val="18752914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93CD2C3-DA4D-431A-B170-6BF6CC2E0FC8}" type="datetimeFigureOut">
              <a:rPr lang="en-IN" smtClean="0"/>
              <a:t>24-09-2019</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33273338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73" indent="-271473">
              <a:buFont typeface="Arial" pitchFamily="34" charset="0"/>
              <a:buChar char="•"/>
              <a:tabLst/>
              <a:defRPr/>
            </a:lvl2pPr>
            <a:lvl3pPr marL="274648" indent="-274648">
              <a:buFont typeface="Arial" pitchFamily="34" charset="0"/>
              <a:buChar char="•"/>
              <a:defRPr i="1"/>
            </a:lvl3pPr>
            <a:lvl4pPr marL="535008" indent="-263535">
              <a:buFont typeface="Arial" pitchFamily="34" charset="0"/>
              <a:buChar char="−"/>
              <a:defRPr i="0"/>
            </a:lvl4pPr>
            <a:lvl5pPr marL="806481" indent="-27147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2"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79"/>
            <a:ext cx="11184002"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2458379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6" y="1809101"/>
            <a:ext cx="5412016" cy="4536504"/>
          </a:xfrm>
        </p:spPr>
        <p:txBody>
          <a:bodyPr/>
          <a:lstStyle>
            <a:lvl1pPr marL="0" indent="0">
              <a:buNone/>
              <a:defRPr b="0"/>
            </a:lvl1pPr>
            <a:lvl2pPr marL="266710" indent="-266710">
              <a:buFont typeface="Arial" pitchFamily="34" charset="0"/>
              <a:buChar char="•"/>
              <a:tabLst/>
              <a:defRPr/>
            </a:lvl2pPr>
            <a:lvl3pPr marL="447692" indent="-180981">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6" y="295683"/>
            <a:ext cx="5412016"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6" y="765179"/>
            <a:ext cx="5412016"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28696174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14" y="1724013"/>
            <a:ext cx="6159542" cy="4276755"/>
          </a:xfrm>
        </p:spPr>
        <p:txBody>
          <a:bodyPr/>
          <a:lstStyle>
            <a:lvl1pPr marL="0" indent="0">
              <a:buNone/>
              <a:defRPr b="0"/>
            </a:lvl1pPr>
            <a:lvl2pPr marL="266710" indent="-266710">
              <a:buFont typeface="Arial" pitchFamily="34" charset="0"/>
              <a:buChar char="•"/>
              <a:tabLst/>
              <a:defRPr/>
            </a:lvl2pPr>
            <a:lvl3pPr marL="447692" indent="-180981">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641314" y="305211"/>
            <a:ext cx="6464345"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755614" y="722454"/>
            <a:ext cx="6159889"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79437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9"/>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48" indent="-27464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13496571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9"/>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48" indent="-27464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774150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9"/>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48" indent="-27464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24613219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2" cy="4536504"/>
          </a:xfrm>
        </p:spPr>
        <p:txBody>
          <a:bodyPr>
            <a:normAutofit/>
          </a:bodyPr>
          <a:lstStyle>
            <a:lvl1pPr marL="0" indent="0">
              <a:spcBef>
                <a:spcPts val="1800"/>
              </a:spcBef>
              <a:spcAft>
                <a:spcPts val="0"/>
              </a:spcAft>
              <a:buNone/>
              <a:defRPr sz="2001" b="0">
                <a:solidFill>
                  <a:schemeClr val="bg1"/>
                </a:solidFill>
              </a:defRPr>
            </a:lvl1pPr>
            <a:lvl2pPr marL="268299" indent="-268299">
              <a:spcBef>
                <a:spcPts val="600"/>
              </a:spcBef>
              <a:spcAft>
                <a:spcPts val="0"/>
              </a:spcAft>
              <a:buFont typeface="Arial" pitchFamily="34" charset="0"/>
              <a:buChar char="•"/>
              <a:tabLst/>
              <a:defRPr sz="2001" b="0">
                <a:solidFill>
                  <a:schemeClr val="bg1"/>
                </a:solidFill>
              </a:defRPr>
            </a:lvl2pPr>
            <a:lvl3pPr marL="274648" indent="-274648">
              <a:spcBef>
                <a:spcPts val="600"/>
              </a:spcBef>
              <a:spcAft>
                <a:spcPts val="0"/>
              </a:spcAft>
              <a:buFont typeface="Arial" pitchFamily="34" charset="0"/>
              <a:buChar char="•"/>
              <a:defRPr sz="2001" b="0">
                <a:solidFill>
                  <a:schemeClr val="bg1"/>
                </a:solidFill>
              </a:defRPr>
            </a:lvl3pPr>
            <a:lvl4pPr>
              <a:spcBef>
                <a:spcPts val="600"/>
              </a:spcBef>
              <a:spcAft>
                <a:spcPts val="0"/>
              </a:spcAft>
              <a:buFont typeface="Arial" pitchFamily="34" charset="0"/>
              <a:buChar char="•"/>
              <a:defRPr sz="2001" b="0">
                <a:solidFill>
                  <a:schemeClr val="bg1"/>
                </a:solidFill>
              </a:defRPr>
            </a:lvl4pPr>
            <a:lvl5pPr marL="441341" indent="-176219">
              <a:spcBef>
                <a:spcPts val="600"/>
              </a:spcBef>
              <a:spcAft>
                <a:spcPts val="0"/>
              </a:spcAft>
              <a:buFont typeface="Arial" pitchFamily="34" charset="0"/>
              <a:buChar char="•"/>
              <a:defRPr sz="2001"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4"/>
            <a:ext cx="11184002"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778104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2" cy="4536504"/>
          </a:xfrm>
        </p:spPr>
        <p:txBody>
          <a:bodyPr>
            <a:normAutofit/>
          </a:bodyPr>
          <a:lstStyle>
            <a:lvl1pPr marL="0" indent="0">
              <a:spcBef>
                <a:spcPts val="1800"/>
              </a:spcBef>
              <a:spcAft>
                <a:spcPts val="0"/>
              </a:spcAft>
              <a:buNone/>
              <a:defRPr sz="2001" b="0">
                <a:solidFill>
                  <a:schemeClr val="tx2"/>
                </a:solidFill>
              </a:defRPr>
            </a:lvl1pPr>
            <a:lvl2pPr marL="268299" indent="-268299">
              <a:spcBef>
                <a:spcPts val="600"/>
              </a:spcBef>
              <a:spcAft>
                <a:spcPts val="0"/>
              </a:spcAft>
              <a:buFont typeface="Arial" pitchFamily="34" charset="0"/>
              <a:buChar char="•"/>
              <a:tabLst/>
              <a:defRPr sz="2001" b="0">
                <a:solidFill>
                  <a:schemeClr val="tx2"/>
                </a:solidFill>
              </a:defRPr>
            </a:lvl2pPr>
            <a:lvl3pPr marL="274648" indent="-274648">
              <a:spcBef>
                <a:spcPts val="600"/>
              </a:spcBef>
              <a:spcAft>
                <a:spcPts val="0"/>
              </a:spcAft>
              <a:buFont typeface="Arial" pitchFamily="34" charset="0"/>
              <a:buChar char="•"/>
              <a:defRPr sz="2001" b="0">
                <a:solidFill>
                  <a:schemeClr val="tx2"/>
                </a:solidFill>
              </a:defRPr>
            </a:lvl3pPr>
            <a:lvl4pPr>
              <a:spcBef>
                <a:spcPts val="600"/>
              </a:spcBef>
              <a:spcAft>
                <a:spcPts val="0"/>
              </a:spcAft>
              <a:buFont typeface="Arial" pitchFamily="34" charset="0"/>
              <a:buChar char="•"/>
              <a:defRPr sz="2001" b="0">
                <a:solidFill>
                  <a:schemeClr val="tx2"/>
                </a:solidFill>
              </a:defRPr>
            </a:lvl4pPr>
            <a:lvl5pPr marL="441341" indent="-176219">
              <a:spcBef>
                <a:spcPts val="600"/>
              </a:spcBef>
              <a:spcAft>
                <a:spcPts val="0"/>
              </a:spcAft>
              <a:buFont typeface="Arial" pitchFamily="34" charset="0"/>
              <a:buChar char="•"/>
              <a:defRPr sz="2001"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4"/>
            <a:ext cx="11184002"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33875457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4" y="1466849"/>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1316734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4" y="1466849"/>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27638437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3CD2C3-DA4D-431A-B170-6BF6CC2E0FC8}" type="datetimeFigureOut">
              <a:rPr lang="en-IN" smtClean="0"/>
              <a:t>24-09-2019</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13446658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4" y="1466849"/>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791789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4" y="1466849"/>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040788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3" y="1538288"/>
            <a:ext cx="11220417"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692840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4" y="1671639"/>
            <a:ext cx="3702006"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8339326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120061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lvl1pPr>
              <a:defRPr sz="30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10" name="Footer Placeholder 4"/>
          <p:cNvSpPr>
            <a:spLocks noGrp="1"/>
          </p:cNvSpPr>
          <p:nvPr>
            <p:ph type="ftr" sz="quarter" idx="3"/>
          </p:nvPr>
        </p:nvSpPr>
        <p:spPr>
          <a:xfrm>
            <a:off x="493485" y="6446520"/>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34863215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1"/>
            <a:ext cx="3932237" cy="3811588"/>
          </a:xfrm>
        </p:spPr>
        <p:txBody>
          <a:bodyPr/>
          <a:lstStyle>
            <a:lvl1pPr marL="0" indent="0">
              <a:buNone/>
              <a:defRPr sz="1600"/>
            </a:lvl1pPr>
            <a:lvl2pPr marL="457167" indent="0">
              <a:buNone/>
              <a:defRPr sz="1400"/>
            </a:lvl2pPr>
            <a:lvl3pPr marL="914333" indent="0">
              <a:buNone/>
              <a:defRPr sz="1200"/>
            </a:lvl3pPr>
            <a:lvl4pPr marL="1371500" indent="0">
              <a:buNone/>
              <a:defRPr sz="1000"/>
            </a:lvl4pPr>
            <a:lvl5pPr marL="1828665" indent="0">
              <a:buNone/>
              <a:defRPr sz="1000"/>
            </a:lvl5pPr>
            <a:lvl6pPr marL="2285832" indent="0">
              <a:buNone/>
              <a:defRPr sz="1000"/>
            </a:lvl6pPr>
            <a:lvl7pPr marL="2742999" indent="0">
              <a:buNone/>
              <a:defRPr sz="1000"/>
            </a:lvl7pPr>
            <a:lvl8pPr marL="3200165" indent="0">
              <a:buNone/>
              <a:defRPr sz="1000"/>
            </a:lvl8pPr>
            <a:lvl9pPr marL="3657332"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93CD2C3-DA4D-431A-B170-6BF6CC2E0FC8}" type="datetimeFigureOut">
              <a:rPr lang="en-IN" smtClean="0"/>
              <a:t>24-09-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38748838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67" indent="0">
              <a:buNone/>
              <a:defRPr sz="2800"/>
            </a:lvl2pPr>
            <a:lvl3pPr marL="914333" indent="0">
              <a:buNone/>
              <a:defRPr sz="2400"/>
            </a:lvl3pPr>
            <a:lvl4pPr marL="1371500" indent="0">
              <a:buNone/>
              <a:defRPr sz="1999"/>
            </a:lvl4pPr>
            <a:lvl5pPr marL="1828665" indent="0">
              <a:buNone/>
              <a:defRPr sz="1999"/>
            </a:lvl5pPr>
            <a:lvl6pPr marL="2285832" indent="0">
              <a:buNone/>
              <a:defRPr sz="1999"/>
            </a:lvl6pPr>
            <a:lvl7pPr marL="2742999" indent="0">
              <a:buNone/>
              <a:defRPr sz="1999"/>
            </a:lvl7pPr>
            <a:lvl8pPr marL="3200165" indent="0">
              <a:buNone/>
              <a:defRPr sz="1999"/>
            </a:lvl8pPr>
            <a:lvl9pPr marL="3657332" indent="0">
              <a:buNone/>
              <a:defRPr sz="1999"/>
            </a:lvl9pPr>
          </a:lstStyle>
          <a:p>
            <a:r>
              <a:rPr lang="en-US"/>
              <a:t>Click icon to add picture</a:t>
            </a:r>
            <a:endParaRPr lang="en-US" dirty="0"/>
          </a:p>
        </p:txBody>
      </p:sp>
      <p:sp>
        <p:nvSpPr>
          <p:cNvPr id="4" name="Text Placeholder 3"/>
          <p:cNvSpPr>
            <a:spLocks noGrp="1"/>
          </p:cNvSpPr>
          <p:nvPr>
            <p:ph type="body" sz="half" idx="2"/>
          </p:nvPr>
        </p:nvSpPr>
        <p:spPr>
          <a:xfrm>
            <a:off x="839789" y="2057401"/>
            <a:ext cx="3932237" cy="3811588"/>
          </a:xfrm>
        </p:spPr>
        <p:txBody>
          <a:bodyPr/>
          <a:lstStyle>
            <a:lvl1pPr marL="0" indent="0">
              <a:buNone/>
              <a:defRPr sz="1600"/>
            </a:lvl1pPr>
            <a:lvl2pPr marL="457167" indent="0">
              <a:buNone/>
              <a:defRPr sz="1400"/>
            </a:lvl2pPr>
            <a:lvl3pPr marL="914333" indent="0">
              <a:buNone/>
              <a:defRPr sz="1200"/>
            </a:lvl3pPr>
            <a:lvl4pPr marL="1371500" indent="0">
              <a:buNone/>
              <a:defRPr sz="1000"/>
            </a:lvl4pPr>
            <a:lvl5pPr marL="1828665" indent="0">
              <a:buNone/>
              <a:defRPr sz="1000"/>
            </a:lvl5pPr>
            <a:lvl6pPr marL="2285832" indent="0">
              <a:buNone/>
              <a:defRPr sz="1000"/>
            </a:lvl6pPr>
            <a:lvl7pPr marL="2742999" indent="0">
              <a:buNone/>
              <a:defRPr sz="1000"/>
            </a:lvl7pPr>
            <a:lvl8pPr marL="3200165" indent="0">
              <a:buNone/>
              <a:defRPr sz="1000"/>
            </a:lvl8pPr>
            <a:lvl9pPr marL="3657332"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93CD2C3-DA4D-431A-B170-6BF6CC2E0FC8}" type="datetimeFigureOut">
              <a:rPr lang="en-IN" smtClean="0"/>
              <a:t>24-09-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853975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3CD2C3-DA4D-431A-B170-6BF6CC2E0FC8}" type="datetimeFigureOut">
              <a:rPr lang="en-IN" smtClean="0"/>
              <a:t>24-09-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593889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2.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tags" Target="../tags/tag9.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2.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image" Target="../media/image1.emf"/><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3CD2C3-DA4D-431A-B170-6BF6CC2E0FC8}" type="datetimeFigureOut">
              <a:rPr lang="en-IN" smtClean="0"/>
              <a:t>24-09-2019</a:t>
            </a:fld>
            <a:endParaRPr lang="en-IN"/>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599"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11013C-A4AC-46DE-9B8C-81AD8F3B6557}" type="slidenum">
              <a:rPr lang="en-IN" smtClean="0"/>
              <a:t>‹#›</a:t>
            </a:fld>
            <a:endParaRPr lang="en-IN"/>
          </a:p>
        </p:txBody>
      </p:sp>
    </p:spTree>
    <p:extLst>
      <p:ext uri="{BB962C8B-B14F-4D97-AF65-F5344CB8AC3E}">
        <p14:creationId xmlns:p14="http://schemas.microsoft.com/office/powerpoint/2010/main" val="2444638158"/>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33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49"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600083"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7249"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581"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748"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33" rtl="0" eaLnBrk="1" latinLnBrk="0" hangingPunct="1">
        <a:defRPr sz="1799" kern="1200">
          <a:solidFill>
            <a:schemeClr val="tx1"/>
          </a:solidFill>
          <a:latin typeface="+mn-lt"/>
          <a:ea typeface="+mn-ea"/>
          <a:cs typeface="+mn-cs"/>
        </a:defRPr>
      </a:lvl1pPr>
      <a:lvl2pPr marL="457167" algn="l" defTabSz="914333" rtl="0" eaLnBrk="1" latinLnBrk="0" hangingPunct="1">
        <a:defRPr sz="1799" kern="1200">
          <a:solidFill>
            <a:schemeClr val="tx1"/>
          </a:solidFill>
          <a:latin typeface="+mn-lt"/>
          <a:ea typeface="+mn-ea"/>
          <a:cs typeface="+mn-cs"/>
        </a:defRPr>
      </a:lvl2pPr>
      <a:lvl3pPr marL="914333" algn="l" defTabSz="914333" rtl="0" eaLnBrk="1" latinLnBrk="0" hangingPunct="1">
        <a:defRPr sz="1799" kern="1200">
          <a:solidFill>
            <a:schemeClr val="tx1"/>
          </a:solidFill>
          <a:latin typeface="+mn-lt"/>
          <a:ea typeface="+mn-ea"/>
          <a:cs typeface="+mn-cs"/>
        </a:defRPr>
      </a:lvl3pPr>
      <a:lvl4pPr marL="1371500" algn="l" defTabSz="914333" rtl="0" eaLnBrk="1" latinLnBrk="0" hangingPunct="1">
        <a:defRPr sz="1799" kern="1200">
          <a:solidFill>
            <a:schemeClr val="tx1"/>
          </a:solidFill>
          <a:latin typeface="+mn-lt"/>
          <a:ea typeface="+mn-ea"/>
          <a:cs typeface="+mn-cs"/>
        </a:defRPr>
      </a:lvl4pPr>
      <a:lvl5pPr marL="1828665" algn="l" defTabSz="914333" rtl="0" eaLnBrk="1" latinLnBrk="0" hangingPunct="1">
        <a:defRPr sz="1799" kern="1200">
          <a:solidFill>
            <a:schemeClr val="tx1"/>
          </a:solidFill>
          <a:latin typeface="+mn-lt"/>
          <a:ea typeface="+mn-ea"/>
          <a:cs typeface="+mn-cs"/>
        </a:defRPr>
      </a:lvl5pPr>
      <a:lvl6pPr marL="2285832" algn="l" defTabSz="914333" rtl="0" eaLnBrk="1" latinLnBrk="0" hangingPunct="1">
        <a:defRPr sz="1799" kern="1200">
          <a:solidFill>
            <a:schemeClr val="tx1"/>
          </a:solidFill>
          <a:latin typeface="+mn-lt"/>
          <a:ea typeface="+mn-ea"/>
          <a:cs typeface="+mn-cs"/>
        </a:defRPr>
      </a:lvl6pPr>
      <a:lvl7pPr marL="2742999" algn="l" defTabSz="914333" rtl="0" eaLnBrk="1" latinLnBrk="0" hangingPunct="1">
        <a:defRPr sz="1799" kern="1200">
          <a:solidFill>
            <a:schemeClr val="tx1"/>
          </a:solidFill>
          <a:latin typeface="+mn-lt"/>
          <a:ea typeface="+mn-ea"/>
          <a:cs typeface="+mn-cs"/>
        </a:defRPr>
      </a:lvl7pPr>
      <a:lvl8pPr marL="3200165" algn="l" defTabSz="914333" rtl="0" eaLnBrk="1" latinLnBrk="0" hangingPunct="1">
        <a:defRPr sz="1799" kern="1200">
          <a:solidFill>
            <a:schemeClr val="tx1"/>
          </a:solidFill>
          <a:latin typeface="+mn-lt"/>
          <a:ea typeface="+mn-ea"/>
          <a:cs typeface="+mn-cs"/>
        </a:defRPr>
      </a:lvl8pPr>
      <a:lvl9pPr marL="3657332" algn="l" defTabSz="91433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4074" y="720185"/>
            <a:ext cx="9137762" cy="432111"/>
          </a:xfrm>
          <a:prstGeom prst="rect">
            <a:avLst/>
          </a:prstGeom>
        </p:spPr>
        <p:txBody>
          <a:bodyPr vert="horz" lIns="0" tIns="0" rIns="0" bIns="0" rtlCol="0" anchor="ctr">
            <a:noAutofit/>
          </a:bodyPr>
          <a:lstStyle/>
          <a:p>
            <a:r>
              <a:rPr lang="en-US"/>
              <a:t>Click to edit Master title style</a:t>
            </a:r>
            <a:endParaRPr lang="de-DE" dirty="0"/>
          </a:p>
        </p:txBody>
      </p:sp>
      <p:sp>
        <p:nvSpPr>
          <p:cNvPr id="3" name="Text Placeholder 2"/>
          <p:cNvSpPr>
            <a:spLocks noGrp="1"/>
          </p:cNvSpPr>
          <p:nvPr>
            <p:ph type="body" idx="1"/>
          </p:nvPr>
        </p:nvSpPr>
        <p:spPr>
          <a:xfrm>
            <a:off x="384076" y="1440370"/>
            <a:ext cx="11420869" cy="463319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grpSp>
        <p:nvGrpSpPr>
          <p:cNvPr id="6" name="Group 5"/>
          <p:cNvGrpSpPr/>
          <p:nvPr userDrawn="1"/>
        </p:nvGrpSpPr>
        <p:grpSpPr>
          <a:xfrm>
            <a:off x="0" y="6073573"/>
            <a:ext cx="12192706" cy="784779"/>
            <a:chOff x="0" y="6073573"/>
            <a:chExt cx="12192706" cy="784779"/>
          </a:xfrm>
        </p:grpSpPr>
        <p:pic>
          <p:nvPicPr>
            <p:cNvPr id="5" name="Picture 4"/>
            <p:cNvPicPr>
              <a:picLocks/>
            </p:cNvPicPr>
            <p:nvPr userDrawn="1">
              <p:custDataLst>
                <p:tags r:id="rId13"/>
              </p:custDataLst>
            </p:nvPr>
          </p:nvPicPr>
          <p:blipFill>
            <a:blip r:embed="rId15" cstate="hqprint">
              <a:extLst>
                <a:ext uri="{28A0092B-C50C-407E-A947-70E740481C1C}">
                  <a14:useLocalDpi xmlns:a14="http://schemas.microsoft.com/office/drawing/2010/main" val="0"/>
                </a:ext>
              </a:extLst>
            </a:blip>
            <a:stretch>
              <a:fillRect/>
            </a:stretch>
          </p:blipFill>
          <p:spPr>
            <a:xfrm>
              <a:off x="10846116" y="6073573"/>
              <a:ext cx="1216730"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userDrawn="1">
              <p:custDataLst>
                <p:tags r:id="rId14"/>
              </p:custDataLst>
            </p:nvPr>
          </p:nvPicPr>
          <p:blipFill>
            <a:blip r:embed="rId16">
              <a:extLst>
                <a:ext uri="{28A0092B-C50C-407E-A947-70E740481C1C}">
                  <a14:useLocalDpi xmlns:a14="http://schemas.microsoft.com/office/drawing/2010/main" val="0"/>
                </a:ext>
              </a:extLst>
            </a:blip>
            <a:stretch>
              <a:fillRect/>
            </a:stretch>
          </p:blipFill>
          <p:spPr>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grpSp>
    </p:spTree>
    <p:extLst>
      <p:ext uri="{BB962C8B-B14F-4D97-AF65-F5344CB8AC3E}">
        <p14:creationId xmlns:p14="http://schemas.microsoft.com/office/powerpoint/2010/main" val="165438480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367" rtl="0" eaLnBrk="1" latinLnBrk="0" hangingPunct="1">
        <a:lnSpc>
          <a:spcPct val="90000"/>
        </a:lnSpc>
        <a:spcBef>
          <a:spcPct val="0"/>
        </a:spcBef>
        <a:buFontTx/>
        <a:buNone/>
        <a:defRPr sz="2001" b="0" i="0" u="none" kern="1200">
          <a:solidFill>
            <a:schemeClr val="tx1"/>
          </a:solidFill>
          <a:latin typeface="Bosch Office Sans" pitchFamily="2" charset="0"/>
          <a:ea typeface="+mj-ea"/>
          <a:cs typeface="+mj-cs"/>
        </a:defRPr>
      </a:lvl1pPr>
    </p:titleStyle>
    <p:bodyStyle>
      <a:lvl1pPr marL="279473" indent="-279473" algn="l" defTabSz="914367" rtl="0" eaLnBrk="1" latinLnBrk="0" hangingPunct="1">
        <a:lnSpc>
          <a:spcPct val="107000"/>
        </a:lnSpc>
        <a:spcBef>
          <a:spcPts val="556"/>
        </a:spcBef>
        <a:buClrTx/>
        <a:buSzPct val="100000"/>
        <a:buFont typeface="Wingdings 3" panose="05040102010807070707" pitchFamily="18" charset="2"/>
        <a:buChar char=""/>
        <a:defRPr sz="2001" b="0" i="0" u="none" kern="1200">
          <a:solidFill>
            <a:schemeClr val="tx1"/>
          </a:solidFill>
          <a:latin typeface="Bosch Office Sans" pitchFamily="2" charset="0"/>
          <a:ea typeface="+mn-ea"/>
          <a:cs typeface="+mn-cs"/>
        </a:defRPr>
      </a:lvl1pPr>
      <a:lvl2pPr marL="564591" indent="-304879" algn="l" defTabSz="914367" rtl="0" eaLnBrk="1" latinLnBrk="0" hangingPunct="1">
        <a:lnSpc>
          <a:spcPct val="103000"/>
        </a:lnSpc>
        <a:spcBef>
          <a:spcPts val="556"/>
        </a:spcBef>
        <a:buClrTx/>
        <a:buSzPct val="100000"/>
        <a:buFont typeface="Wingdings 3" panose="05040102010807070707" pitchFamily="18" charset="2"/>
        <a:buChar char=""/>
        <a:defRPr sz="1778" b="0" i="0" u="none" kern="1200">
          <a:solidFill>
            <a:schemeClr val="tx1"/>
          </a:solidFill>
          <a:latin typeface="Bosch Office Sans" pitchFamily="2" charset="0"/>
          <a:ea typeface="+mn-ea"/>
          <a:cs typeface="+mn-cs"/>
        </a:defRPr>
      </a:lvl2pPr>
      <a:lvl3pPr marL="811600" indent="-227248" algn="l" defTabSz="914367" rtl="0" eaLnBrk="1" latinLnBrk="0" hangingPunct="1">
        <a:lnSpc>
          <a:spcPct val="102000"/>
        </a:lnSpc>
        <a:spcBef>
          <a:spcPts val="556"/>
        </a:spcBef>
        <a:buClrTx/>
        <a:buSzPct val="100000"/>
        <a:buFontTx/>
        <a:buChar char="‒"/>
        <a:defRPr sz="1556" b="0" i="0" u="none" kern="1200">
          <a:solidFill>
            <a:schemeClr val="tx1"/>
          </a:solidFill>
          <a:latin typeface="Bosch Office Sans" pitchFamily="2" charset="0"/>
          <a:ea typeface="+mn-ea"/>
          <a:cs typeface="+mn-cs"/>
        </a:defRPr>
      </a:lvl3pPr>
      <a:lvl4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4pPr>
      <a:lvl5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5pPr>
      <a:lvl6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6pPr>
      <a:lvl7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7pPr>
      <a:lvl8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8pPr>
      <a:lvl9pPr marL="1036025" indent="-204664" algn="l" defTabSz="914367" rtl="0" eaLnBrk="1" latinLnBrk="0" hangingPunct="1">
        <a:lnSpc>
          <a:spcPct val="103000"/>
        </a:lnSpc>
        <a:spcBef>
          <a:spcPts val="556"/>
        </a:spcBef>
        <a:buClrTx/>
        <a:buSzPct val="100000"/>
        <a:buFontTx/>
        <a:buChar char="‒"/>
        <a:defRPr sz="1445" b="0" i="0" u="none" kern="1200" baseline="0">
          <a:solidFill>
            <a:schemeClr val="tx1"/>
          </a:solidFill>
          <a:latin typeface="Bosch Office Sans" pitchFamily="2" charset="0"/>
          <a:ea typeface="+mn-ea"/>
          <a:cs typeface="+mn-cs"/>
        </a:defRPr>
      </a:lvl9pPr>
    </p:bodyStyle>
    <p:otherStyle>
      <a:defPPr>
        <a:defRPr lang="de-DE"/>
      </a:defPPr>
      <a:lvl1pPr marL="0" algn="l" defTabSz="914367" rtl="0" eaLnBrk="1" latinLnBrk="0" hangingPunct="1">
        <a:defRPr sz="1799" kern="1200">
          <a:solidFill>
            <a:schemeClr val="tx1"/>
          </a:solidFill>
          <a:latin typeface="+mn-lt"/>
          <a:ea typeface="+mn-ea"/>
          <a:cs typeface="+mn-cs"/>
        </a:defRPr>
      </a:lvl1pPr>
      <a:lvl2pPr marL="457183" algn="l" defTabSz="914367" rtl="0" eaLnBrk="1" latinLnBrk="0" hangingPunct="1">
        <a:defRPr sz="1799" kern="1200">
          <a:solidFill>
            <a:schemeClr val="tx1"/>
          </a:solidFill>
          <a:latin typeface="+mn-lt"/>
          <a:ea typeface="+mn-ea"/>
          <a:cs typeface="+mn-cs"/>
        </a:defRPr>
      </a:lvl2pPr>
      <a:lvl3pPr marL="914367" algn="l" defTabSz="914367" rtl="0" eaLnBrk="1" latinLnBrk="0" hangingPunct="1">
        <a:defRPr sz="1799" kern="1200">
          <a:solidFill>
            <a:schemeClr val="tx1"/>
          </a:solidFill>
          <a:latin typeface="+mn-lt"/>
          <a:ea typeface="+mn-ea"/>
          <a:cs typeface="+mn-cs"/>
        </a:defRPr>
      </a:lvl3pPr>
      <a:lvl4pPr marL="1371551" algn="l" defTabSz="914367" rtl="0" eaLnBrk="1" latinLnBrk="0" hangingPunct="1">
        <a:defRPr sz="1799" kern="1200">
          <a:solidFill>
            <a:schemeClr val="tx1"/>
          </a:solidFill>
          <a:latin typeface="+mn-lt"/>
          <a:ea typeface="+mn-ea"/>
          <a:cs typeface="+mn-cs"/>
        </a:defRPr>
      </a:lvl4pPr>
      <a:lvl5pPr marL="1828734" algn="l" defTabSz="914367" rtl="0" eaLnBrk="1" latinLnBrk="0" hangingPunct="1">
        <a:defRPr sz="1799" kern="1200">
          <a:solidFill>
            <a:schemeClr val="tx1"/>
          </a:solidFill>
          <a:latin typeface="+mn-lt"/>
          <a:ea typeface="+mn-ea"/>
          <a:cs typeface="+mn-cs"/>
        </a:defRPr>
      </a:lvl5pPr>
      <a:lvl6pPr marL="2285919" algn="l" defTabSz="914367" rtl="0" eaLnBrk="1" latinLnBrk="0" hangingPunct="1">
        <a:defRPr sz="1799" kern="1200">
          <a:solidFill>
            <a:schemeClr val="tx1"/>
          </a:solidFill>
          <a:latin typeface="+mn-lt"/>
          <a:ea typeface="+mn-ea"/>
          <a:cs typeface="+mn-cs"/>
        </a:defRPr>
      </a:lvl6pPr>
      <a:lvl7pPr marL="2743102" algn="l" defTabSz="914367" rtl="0" eaLnBrk="1" latinLnBrk="0" hangingPunct="1">
        <a:defRPr sz="1799" kern="1200">
          <a:solidFill>
            <a:schemeClr val="tx1"/>
          </a:solidFill>
          <a:latin typeface="+mn-lt"/>
          <a:ea typeface="+mn-ea"/>
          <a:cs typeface="+mn-cs"/>
        </a:defRPr>
      </a:lvl7pPr>
      <a:lvl8pPr marL="3200286" algn="l" defTabSz="914367" rtl="0" eaLnBrk="1" latinLnBrk="0" hangingPunct="1">
        <a:defRPr sz="1799" kern="1200">
          <a:solidFill>
            <a:schemeClr val="tx1"/>
          </a:solidFill>
          <a:latin typeface="+mn-lt"/>
          <a:ea typeface="+mn-ea"/>
          <a:cs typeface="+mn-cs"/>
        </a:defRPr>
      </a:lvl8pPr>
      <a:lvl9pPr marL="3657470" algn="l" defTabSz="914367"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4074" y="720185"/>
            <a:ext cx="9137762" cy="432111"/>
          </a:xfrm>
          <a:prstGeom prst="rect">
            <a:avLst/>
          </a:prstGeom>
        </p:spPr>
        <p:txBody>
          <a:bodyPr vert="horz" lIns="0" tIns="0" rIns="0" bIns="0" rtlCol="0" anchor="ctr">
            <a:noAutofit/>
          </a:bodyPr>
          <a:lstStyle/>
          <a:p>
            <a:r>
              <a:rPr lang="en-US" smtClean="0"/>
              <a:t>Click to edit Master title style</a:t>
            </a:r>
            <a:endParaRPr lang="de-DE" dirty="0"/>
          </a:p>
        </p:txBody>
      </p:sp>
      <p:sp>
        <p:nvSpPr>
          <p:cNvPr id="3" name="Text Placeholder 2"/>
          <p:cNvSpPr>
            <a:spLocks noGrp="1"/>
          </p:cNvSpPr>
          <p:nvPr>
            <p:ph type="body" idx="1"/>
          </p:nvPr>
        </p:nvSpPr>
        <p:spPr>
          <a:xfrm>
            <a:off x="384076" y="1440370"/>
            <a:ext cx="11420869" cy="463319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pic>
        <p:nvPicPr>
          <p:cNvPr id="5" name="Picture 4"/>
          <p:cNvPicPr>
            <a:picLocks/>
          </p:cNvPicPr>
          <p:nvPr userDrawn="1">
            <p:custDataLst>
              <p:tags r:id="rId13"/>
            </p:custDataLst>
          </p:nvPr>
        </p:nvPicPr>
        <p:blipFill>
          <a:blip r:embed="rId15" cstate="hqprint">
            <a:extLst>
              <a:ext uri="{28A0092B-C50C-407E-A947-70E740481C1C}">
                <a14:useLocalDpi xmlns:a14="http://schemas.microsoft.com/office/drawing/2010/main" val="0"/>
              </a:ext>
            </a:extLst>
          </a:blip>
          <a:stretch>
            <a:fillRect/>
          </a:stretch>
        </p:blipFill>
        <p:spPr>
          <a:xfrm>
            <a:off x="10846116" y="6073573"/>
            <a:ext cx="1216730"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userDrawn="1">
            <p:custDataLst>
              <p:tags r:id="rId14"/>
            </p:custDataLst>
          </p:nvPr>
        </p:nvPicPr>
        <p:blipFill>
          <a:blip r:embed="rId16">
            <a:extLst>
              <a:ext uri="{28A0092B-C50C-407E-A947-70E740481C1C}">
                <a14:useLocalDpi xmlns:a14="http://schemas.microsoft.com/office/drawing/2010/main" val="0"/>
              </a:ext>
            </a:extLst>
          </a:blip>
          <a:stretch>
            <a:fillRect/>
          </a:stretch>
        </p:blipFill>
        <p:spPr>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58054805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367" rtl="0" eaLnBrk="1" latinLnBrk="0" hangingPunct="1">
        <a:lnSpc>
          <a:spcPct val="90000"/>
        </a:lnSpc>
        <a:spcBef>
          <a:spcPct val="0"/>
        </a:spcBef>
        <a:buFontTx/>
        <a:buNone/>
        <a:defRPr sz="2001" b="0" i="0" u="none" kern="1200">
          <a:solidFill>
            <a:schemeClr val="tx1"/>
          </a:solidFill>
          <a:latin typeface="Bosch Office Sans" pitchFamily="2" charset="0"/>
          <a:ea typeface="+mj-ea"/>
          <a:cs typeface="+mj-cs"/>
        </a:defRPr>
      </a:lvl1pPr>
    </p:titleStyle>
    <p:bodyStyle>
      <a:lvl1pPr marL="279473" indent="-279473" algn="l" defTabSz="914367" rtl="0" eaLnBrk="1" latinLnBrk="0" hangingPunct="1">
        <a:lnSpc>
          <a:spcPct val="107000"/>
        </a:lnSpc>
        <a:spcBef>
          <a:spcPts val="556"/>
        </a:spcBef>
        <a:buClrTx/>
        <a:buSzPct val="100000"/>
        <a:buFont typeface="Wingdings 3" panose="05040102010807070707" pitchFamily="18" charset="2"/>
        <a:buChar char=""/>
        <a:defRPr sz="2001" b="0" i="0" u="none" kern="1200">
          <a:solidFill>
            <a:schemeClr val="tx1"/>
          </a:solidFill>
          <a:latin typeface="Bosch Office Sans" pitchFamily="2" charset="0"/>
          <a:ea typeface="+mn-ea"/>
          <a:cs typeface="+mn-cs"/>
        </a:defRPr>
      </a:lvl1pPr>
      <a:lvl2pPr marL="564591" indent="-304879" algn="l" defTabSz="914367" rtl="0" eaLnBrk="1" latinLnBrk="0" hangingPunct="1">
        <a:lnSpc>
          <a:spcPct val="103000"/>
        </a:lnSpc>
        <a:spcBef>
          <a:spcPts val="556"/>
        </a:spcBef>
        <a:buClrTx/>
        <a:buSzPct val="100000"/>
        <a:buFont typeface="Wingdings 3" panose="05040102010807070707" pitchFamily="18" charset="2"/>
        <a:buChar char=""/>
        <a:defRPr sz="1778" b="0" i="0" u="none" kern="1200">
          <a:solidFill>
            <a:schemeClr val="tx1"/>
          </a:solidFill>
          <a:latin typeface="Bosch Office Sans" pitchFamily="2" charset="0"/>
          <a:ea typeface="+mn-ea"/>
          <a:cs typeface="+mn-cs"/>
        </a:defRPr>
      </a:lvl2pPr>
      <a:lvl3pPr marL="811600" indent="-227248" algn="l" defTabSz="914367" rtl="0" eaLnBrk="1" latinLnBrk="0" hangingPunct="1">
        <a:lnSpc>
          <a:spcPct val="102000"/>
        </a:lnSpc>
        <a:spcBef>
          <a:spcPts val="556"/>
        </a:spcBef>
        <a:buClrTx/>
        <a:buSzPct val="100000"/>
        <a:buFontTx/>
        <a:buChar char="‒"/>
        <a:defRPr sz="1556" b="0" i="0" u="none" kern="1200">
          <a:solidFill>
            <a:schemeClr val="tx1"/>
          </a:solidFill>
          <a:latin typeface="Bosch Office Sans" pitchFamily="2" charset="0"/>
          <a:ea typeface="+mn-ea"/>
          <a:cs typeface="+mn-cs"/>
        </a:defRPr>
      </a:lvl3pPr>
      <a:lvl4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4pPr>
      <a:lvl5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5pPr>
      <a:lvl6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6pPr>
      <a:lvl7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7pPr>
      <a:lvl8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8pPr>
      <a:lvl9pPr marL="1036025" indent="-204664" algn="l" defTabSz="914367" rtl="0" eaLnBrk="1" latinLnBrk="0" hangingPunct="1">
        <a:lnSpc>
          <a:spcPct val="103000"/>
        </a:lnSpc>
        <a:spcBef>
          <a:spcPts val="556"/>
        </a:spcBef>
        <a:buClrTx/>
        <a:buSzPct val="100000"/>
        <a:buFontTx/>
        <a:buChar char="‒"/>
        <a:defRPr sz="1445" b="0" i="0" u="none" kern="1200" baseline="0">
          <a:solidFill>
            <a:schemeClr val="tx1"/>
          </a:solidFill>
          <a:latin typeface="Bosch Office Sans" pitchFamily="2" charset="0"/>
          <a:ea typeface="+mn-ea"/>
          <a:cs typeface="+mn-cs"/>
        </a:defRPr>
      </a:lvl9pPr>
    </p:bodyStyle>
    <p:otherStyle>
      <a:defPPr>
        <a:defRPr lang="de-DE"/>
      </a:defPPr>
      <a:lvl1pPr marL="0" algn="l" defTabSz="914367" rtl="0" eaLnBrk="1" latinLnBrk="0" hangingPunct="1">
        <a:defRPr sz="1799" kern="1200">
          <a:solidFill>
            <a:schemeClr val="tx1"/>
          </a:solidFill>
          <a:latin typeface="+mn-lt"/>
          <a:ea typeface="+mn-ea"/>
          <a:cs typeface="+mn-cs"/>
        </a:defRPr>
      </a:lvl1pPr>
      <a:lvl2pPr marL="457183" algn="l" defTabSz="914367" rtl="0" eaLnBrk="1" latinLnBrk="0" hangingPunct="1">
        <a:defRPr sz="1799" kern="1200">
          <a:solidFill>
            <a:schemeClr val="tx1"/>
          </a:solidFill>
          <a:latin typeface="+mn-lt"/>
          <a:ea typeface="+mn-ea"/>
          <a:cs typeface="+mn-cs"/>
        </a:defRPr>
      </a:lvl2pPr>
      <a:lvl3pPr marL="914367" algn="l" defTabSz="914367" rtl="0" eaLnBrk="1" latinLnBrk="0" hangingPunct="1">
        <a:defRPr sz="1799" kern="1200">
          <a:solidFill>
            <a:schemeClr val="tx1"/>
          </a:solidFill>
          <a:latin typeface="+mn-lt"/>
          <a:ea typeface="+mn-ea"/>
          <a:cs typeface="+mn-cs"/>
        </a:defRPr>
      </a:lvl3pPr>
      <a:lvl4pPr marL="1371551" algn="l" defTabSz="914367" rtl="0" eaLnBrk="1" latinLnBrk="0" hangingPunct="1">
        <a:defRPr sz="1799" kern="1200">
          <a:solidFill>
            <a:schemeClr val="tx1"/>
          </a:solidFill>
          <a:latin typeface="+mn-lt"/>
          <a:ea typeface="+mn-ea"/>
          <a:cs typeface="+mn-cs"/>
        </a:defRPr>
      </a:lvl4pPr>
      <a:lvl5pPr marL="1828734" algn="l" defTabSz="914367" rtl="0" eaLnBrk="1" latinLnBrk="0" hangingPunct="1">
        <a:defRPr sz="1799" kern="1200">
          <a:solidFill>
            <a:schemeClr val="tx1"/>
          </a:solidFill>
          <a:latin typeface="+mn-lt"/>
          <a:ea typeface="+mn-ea"/>
          <a:cs typeface="+mn-cs"/>
        </a:defRPr>
      </a:lvl5pPr>
      <a:lvl6pPr marL="2285919" algn="l" defTabSz="914367" rtl="0" eaLnBrk="1" latinLnBrk="0" hangingPunct="1">
        <a:defRPr sz="1799" kern="1200">
          <a:solidFill>
            <a:schemeClr val="tx1"/>
          </a:solidFill>
          <a:latin typeface="+mn-lt"/>
          <a:ea typeface="+mn-ea"/>
          <a:cs typeface="+mn-cs"/>
        </a:defRPr>
      </a:lvl6pPr>
      <a:lvl7pPr marL="2743102" algn="l" defTabSz="914367" rtl="0" eaLnBrk="1" latinLnBrk="0" hangingPunct="1">
        <a:defRPr sz="1799" kern="1200">
          <a:solidFill>
            <a:schemeClr val="tx1"/>
          </a:solidFill>
          <a:latin typeface="+mn-lt"/>
          <a:ea typeface="+mn-ea"/>
          <a:cs typeface="+mn-cs"/>
        </a:defRPr>
      </a:lvl7pPr>
      <a:lvl8pPr marL="3200286" algn="l" defTabSz="914367" rtl="0" eaLnBrk="1" latinLnBrk="0" hangingPunct="1">
        <a:defRPr sz="1799" kern="1200">
          <a:solidFill>
            <a:schemeClr val="tx1"/>
          </a:solidFill>
          <a:latin typeface="+mn-lt"/>
          <a:ea typeface="+mn-ea"/>
          <a:cs typeface="+mn-cs"/>
        </a:defRPr>
      </a:lvl8pPr>
      <a:lvl9pPr marL="3657470" algn="l" defTabSz="914367"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4074" y="720185"/>
            <a:ext cx="9137762" cy="432111"/>
          </a:xfrm>
          <a:prstGeom prst="rect">
            <a:avLst/>
          </a:prstGeom>
        </p:spPr>
        <p:txBody>
          <a:bodyPr vert="horz" lIns="0" tIns="0" rIns="0" bIns="0" rtlCol="0" anchor="ctr">
            <a:noAutofit/>
          </a:bodyPr>
          <a:lstStyle/>
          <a:p>
            <a:r>
              <a:rPr lang="en-US" smtClean="0"/>
              <a:t>Click to edit Master title style</a:t>
            </a:r>
            <a:endParaRPr lang="de-DE" dirty="0"/>
          </a:p>
        </p:txBody>
      </p:sp>
      <p:sp>
        <p:nvSpPr>
          <p:cNvPr id="3" name="Text Placeholder 2"/>
          <p:cNvSpPr>
            <a:spLocks noGrp="1"/>
          </p:cNvSpPr>
          <p:nvPr>
            <p:ph type="body" idx="1"/>
          </p:nvPr>
        </p:nvSpPr>
        <p:spPr>
          <a:xfrm>
            <a:off x="384076" y="1440370"/>
            <a:ext cx="11420869" cy="463319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pic>
        <p:nvPicPr>
          <p:cNvPr id="5" name="Picture 4"/>
          <p:cNvPicPr>
            <a:picLocks/>
          </p:cNvPicPr>
          <p:nvPr userDrawn="1">
            <p:custDataLst>
              <p:tags r:id="rId34"/>
            </p:custDataLst>
          </p:nvPr>
        </p:nvPicPr>
        <p:blipFill>
          <a:blip r:embed="rId36" cstate="hqprint">
            <a:extLst>
              <a:ext uri="{28A0092B-C50C-407E-A947-70E740481C1C}">
                <a14:useLocalDpi xmlns:a14="http://schemas.microsoft.com/office/drawing/2010/main" val="0"/>
              </a:ext>
            </a:extLst>
          </a:blip>
          <a:stretch>
            <a:fillRect/>
          </a:stretch>
        </p:blipFill>
        <p:spPr>
          <a:xfrm>
            <a:off x="10846116" y="6073573"/>
            <a:ext cx="1216730"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userDrawn="1">
            <p:custDataLst>
              <p:tags r:id="rId35"/>
            </p:custDataLst>
          </p:nvPr>
        </p:nvPicPr>
        <p:blipFill>
          <a:blip r:embed="rId37">
            <a:extLst>
              <a:ext uri="{28A0092B-C50C-407E-A947-70E740481C1C}">
                <a14:useLocalDpi xmlns:a14="http://schemas.microsoft.com/office/drawing/2010/main" val="0"/>
              </a:ext>
            </a:extLst>
          </a:blip>
          <a:stretch>
            <a:fillRect/>
          </a:stretch>
        </p:blipFill>
        <p:spPr>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63191642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Lst>
  <p:txStyles>
    <p:titleStyle>
      <a:lvl1pPr algn="l" defTabSz="914367" rtl="0" eaLnBrk="1" latinLnBrk="0" hangingPunct="1">
        <a:lnSpc>
          <a:spcPct val="90000"/>
        </a:lnSpc>
        <a:spcBef>
          <a:spcPct val="0"/>
        </a:spcBef>
        <a:buFontTx/>
        <a:buNone/>
        <a:defRPr sz="2001" b="0" i="0" u="none" kern="1200">
          <a:solidFill>
            <a:schemeClr val="tx1"/>
          </a:solidFill>
          <a:latin typeface="Bosch Office Sans" panose="020B0604020202020204" pitchFamily="34" charset="0"/>
          <a:ea typeface="+mj-ea"/>
          <a:cs typeface="+mj-cs"/>
        </a:defRPr>
      </a:lvl1pPr>
    </p:titleStyle>
    <p:bodyStyle>
      <a:lvl1pPr marL="279473" indent="-279473" algn="l" defTabSz="914367" rtl="0" eaLnBrk="1" latinLnBrk="0" hangingPunct="1">
        <a:lnSpc>
          <a:spcPts val="2556"/>
        </a:lnSpc>
        <a:spcBef>
          <a:spcPts val="556"/>
        </a:spcBef>
        <a:buClrTx/>
        <a:buSzPct val="100000"/>
        <a:buFont typeface="Wingdings 3" panose="05040102010807070707" pitchFamily="18" charset="2"/>
        <a:buChar char=""/>
        <a:defRPr sz="2001" b="0" i="0" u="none" kern="1200">
          <a:solidFill>
            <a:schemeClr val="tx1"/>
          </a:solidFill>
          <a:latin typeface="Bosch Office Sans" panose="020B0604020202020204" pitchFamily="34" charset="0"/>
          <a:ea typeface="+mn-ea"/>
          <a:cs typeface="+mn-cs"/>
        </a:defRPr>
      </a:lvl1pPr>
      <a:lvl2pPr marL="519424" indent="-199018" algn="l" defTabSz="914367" rtl="0" eaLnBrk="1" latinLnBrk="0" hangingPunct="1">
        <a:lnSpc>
          <a:spcPts val="2223"/>
        </a:lnSpc>
        <a:spcBef>
          <a:spcPts val="556"/>
        </a:spcBef>
        <a:buClrTx/>
        <a:buSzPct val="100000"/>
        <a:buFontTx/>
        <a:buChar char="‒"/>
        <a:defRPr sz="1778" b="0" i="0" u="none" kern="1200">
          <a:solidFill>
            <a:schemeClr val="tx1"/>
          </a:solidFill>
          <a:latin typeface="Bosch Office Sans" panose="020B0604020202020204" pitchFamily="34" charset="0"/>
          <a:ea typeface="+mn-ea"/>
          <a:cs typeface="+mn-cs"/>
        </a:defRPr>
      </a:lvl2pPr>
      <a:lvl3pPr marL="719854" indent="-200430" algn="l" defTabSz="914367" rtl="0" eaLnBrk="1" latinLnBrk="0" hangingPunct="1">
        <a:lnSpc>
          <a:spcPts val="1889"/>
        </a:lnSpc>
        <a:spcBef>
          <a:spcPts val="556"/>
        </a:spcBef>
        <a:buClrTx/>
        <a:buSzPct val="100000"/>
        <a:buFontTx/>
        <a:buChar char="‒"/>
        <a:defRPr sz="1556" b="0" i="0" u="none" kern="1200">
          <a:solidFill>
            <a:schemeClr val="tx1"/>
          </a:solidFill>
          <a:latin typeface="Bosch Office Sans" panose="020B0604020202020204" pitchFamily="34" charset="0"/>
          <a:ea typeface="+mn-ea"/>
          <a:cs typeface="+mn-cs"/>
        </a:defRPr>
      </a:lvl3pPr>
      <a:lvl4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4pPr>
      <a:lvl5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5pPr>
      <a:lvl6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6pPr>
      <a:lvl7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7pPr>
      <a:lvl8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8pPr>
      <a:lvl9pPr marL="959805" indent="-200430" algn="l" defTabSz="914367" rtl="0" eaLnBrk="1" latinLnBrk="0" hangingPunct="1">
        <a:lnSpc>
          <a:spcPts val="1778"/>
        </a:lnSpc>
        <a:spcBef>
          <a:spcPts val="556"/>
        </a:spcBef>
        <a:buClrTx/>
        <a:buSzPct val="100000"/>
        <a:buFontTx/>
        <a:buChar char="»"/>
        <a:defRPr sz="1445" b="0" i="0" u="none" kern="1200" baseline="0">
          <a:solidFill>
            <a:schemeClr val="tx1"/>
          </a:solidFill>
          <a:latin typeface="Bosch Office Sans" panose="020B0604020202020204" pitchFamily="34" charset="0"/>
          <a:ea typeface="+mn-ea"/>
          <a:cs typeface="+mn-cs"/>
        </a:defRPr>
      </a:lvl9pPr>
    </p:bodyStyle>
    <p:otherStyle>
      <a:defPPr>
        <a:defRPr lang="de-DE"/>
      </a:defPPr>
      <a:lvl1pPr marL="0" algn="l" defTabSz="914367" rtl="0" eaLnBrk="1" latinLnBrk="0" hangingPunct="1">
        <a:defRPr sz="1799" kern="1200">
          <a:solidFill>
            <a:schemeClr val="tx1"/>
          </a:solidFill>
          <a:latin typeface="+mn-lt"/>
          <a:ea typeface="+mn-ea"/>
          <a:cs typeface="+mn-cs"/>
        </a:defRPr>
      </a:lvl1pPr>
      <a:lvl2pPr marL="457183" algn="l" defTabSz="914367" rtl="0" eaLnBrk="1" latinLnBrk="0" hangingPunct="1">
        <a:defRPr sz="1799" kern="1200">
          <a:solidFill>
            <a:schemeClr val="tx1"/>
          </a:solidFill>
          <a:latin typeface="+mn-lt"/>
          <a:ea typeface="+mn-ea"/>
          <a:cs typeface="+mn-cs"/>
        </a:defRPr>
      </a:lvl2pPr>
      <a:lvl3pPr marL="914367" algn="l" defTabSz="914367" rtl="0" eaLnBrk="1" latinLnBrk="0" hangingPunct="1">
        <a:defRPr sz="1799" kern="1200">
          <a:solidFill>
            <a:schemeClr val="tx1"/>
          </a:solidFill>
          <a:latin typeface="+mn-lt"/>
          <a:ea typeface="+mn-ea"/>
          <a:cs typeface="+mn-cs"/>
        </a:defRPr>
      </a:lvl3pPr>
      <a:lvl4pPr marL="1371551" algn="l" defTabSz="914367" rtl="0" eaLnBrk="1" latinLnBrk="0" hangingPunct="1">
        <a:defRPr sz="1799" kern="1200">
          <a:solidFill>
            <a:schemeClr val="tx1"/>
          </a:solidFill>
          <a:latin typeface="+mn-lt"/>
          <a:ea typeface="+mn-ea"/>
          <a:cs typeface="+mn-cs"/>
        </a:defRPr>
      </a:lvl4pPr>
      <a:lvl5pPr marL="1828734" algn="l" defTabSz="914367" rtl="0" eaLnBrk="1" latinLnBrk="0" hangingPunct="1">
        <a:defRPr sz="1799" kern="1200">
          <a:solidFill>
            <a:schemeClr val="tx1"/>
          </a:solidFill>
          <a:latin typeface="+mn-lt"/>
          <a:ea typeface="+mn-ea"/>
          <a:cs typeface="+mn-cs"/>
        </a:defRPr>
      </a:lvl5pPr>
      <a:lvl6pPr marL="2285919" algn="l" defTabSz="914367" rtl="0" eaLnBrk="1" latinLnBrk="0" hangingPunct="1">
        <a:defRPr sz="1799" kern="1200">
          <a:solidFill>
            <a:schemeClr val="tx1"/>
          </a:solidFill>
          <a:latin typeface="+mn-lt"/>
          <a:ea typeface="+mn-ea"/>
          <a:cs typeface="+mn-cs"/>
        </a:defRPr>
      </a:lvl6pPr>
      <a:lvl7pPr marL="2743102" algn="l" defTabSz="914367" rtl="0" eaLnBrk="1" latinLnBrk="0" hangingPunct="1">
        <a:defRPr sz="1799" kern="1200">
          <a:solidFill>
            <a:schemeClr val="tx1"/>
          </a:solidFill>
          <a:latin typeface="+mn-lt"/>
          <a:ea typeface="+mn-ea"/>
          <a:cs typeface="+mn-cs"/>
        </a:defRPr>
      </a:lvl7pPr>
      <a:lvl8pPr marL="3200286" algn="l" defTabSz="914367" rtl="0" eaLnBrk="1" latinLnBrk="0" hangingPunct="1">
        <a:defRPr sz="1799" kern="1200">
          <a:solidFill>
            <a:schemeClr val="tx1"/>
          </a:solidFill>
          <a:latin typeface="+mn-lt"/>
          <a:ea typeface="+mn-ea"/>
          <a:cs typeface="+mn-cs"/>
        </a:defRPr>
      </a:lvl8pPr>
      <a:lvl9pPr marL="3657470" algn="l" defTabSz="914367"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6" Type="http://schemas.openxmlformats.org/officeDocument/2006/relationships/tags" Target="../tags/tag39.xml"/><Relationship Id="rId117" Type="http://schemas.openxmlformats.org/officeDocument/2006/relationships/tags" Target="../tags/tag130.xml"/><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tags" Target="../tags/tag76.xml"/><Relationship Id="rId68" Type="http://schemas.openxmlformats.org/officeDocument/2006/relationships/tags" Target="../tags/tag81.xml"/><Relationship Id="rId84" Type="http://schemas.openxmlformats.org/officeDocument/2006/relationships/tags" Target="../tags/tag97.xml"/><Relationship Id="rId89" Type="http://schemas.openxmlformats.org/officeDocument/2006/relationships/tags" Target="../tags/tag102.xml"/><Relationship Id="rId112" Type="http://schemas.openxmlformats.org/officeDocument/2006/relationships/tags" Target="../tags/tag125.xml"/><Relationship Id="rId16" Type="http://schemas.openxmlformats.org/officeDocument/2006/relationships/tags" Target="../tags/tag29.xml"/><Relationship Id="rId107" Type="http://schemas.openxmlformats.org/officeDocument/2006/relationships/tags" Target="../tags/tag120.xml"/><Relationship Id="rId11" Type="http://schemas.openxmlformats.org/officeDocument/2006/relationships/tags" Target="../tags/tag24.xml"/><Relationship Id="rId32" Type="http://schemas.openxmlformats.org/officeDocument/2006/relationships/tags" Target="../tags/tag45.xml"/><Relationship Id="rId37" Type="http://schemas.openxmlformats.org/officeDocument/2006/relationships/tags" Target="../tags/tag50.xml"/><Relationship Id="rId53" Type="http://schemas.openxmlformats.org/officeDocument/2006/relationships/tags" Target="../tags/tag66.xml"/><Relationship Id="rId58" Type="http://schemas.openxmlformats.org/officeDocument/2006/relationships/tags" Target="../tags/tag71.xml"/><Relationship Id="rId74" Type="http://schemas.openxmlformats.org/officeDocument/2006/relationships/tags" Target="../tags/tag87.xml"/><Relationship Id="rId79" Type="http://schemas.openxmlformats.org/officeDocument/2006/relationships/tags" Target="../tags/tag92.xml"/><Relationship Id="rId102" Type="http://schemas.openxmlformats.org/officeDocument/2006/relationships/tags" Target="../tags/tag115.xml"/><Relationship Id="rId123" Type="http://schemas.openxmlformats.org/officeDocument/2006/relationships/image" Target="../media/image3.jpg"/><Relationship Id="rId5" Type="http://schemas.openxmlformats.org/officeDocument/2006/relationships/tags" Target="../tags/tag18.xml"/><Relationship Id="rId61" Type="http://schemas.openxmlformats.org/officeDocument/2006/relationships/tags" Target="../tags/tag74.xml"/><Relationship Id="rId82" Type="http://schemas.openxmlformats.org/officeDocument/2006/relationships/tags" Target="../tags/tag95.xml"/><Relationship Id="rId90" Type="http://schemas.openxmlformats.org/officeDocument/2006/relationships/tags" Target="../tags/tag103.xml"/><Relationship Id="rId95" Type="http://schemas.openxmlformats.org/officeDocument/2006/relationships/tags" Target="../tags/tag108.xml"/><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77" Type="http://schemas.openxmlformats.org/officeDocument/2006/relationships/tags" Target="../tags/tag90.xml"/><Relationship Id="rId100" Type="http://schemas.openxmlformats.org/officeDocument/2006/relationships/tags" Target="../tags/tag113.xml"/><Relationship Id="rId105" Type="http://schemas.openxmlformats.org/officeDocument/2006/relationships/tags" Target="../tags/tag118.xml"/><Relationship Id="rId113" Type="http://schemas.openxmlformats.org/officeDocument/2006/relationships/tags" Target="../tags/tag126.xml"/><Relationship Id="rId118" Type="http://schemas.openxmlformats.org/officeDocument/2006/relationships/tags" Target="../tags/tag131.xml"/><Relationship Id="rId126" Type="http://schemas.openxmlformats.org/officeDocument/2006/relationships/image" Target="../media/image5.jpeg"/><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tags" Target="../tags/tag85.xml"/><Relationship Id="rId80" Type="http://schemas.openxmlformats.org/officeDocument/2006/relationships/tags" Target="../tags/tag93.xml"/><Relationship Id="rId85" Type="http://schemas.openxmlformats.org/officeDocument/2006/relationships/tags" Target="../tags/tag98.xml"/><Relationship Id="rId93" Type="http://schemas.openxmlformats.org/officeDocument/2006/relationships/tags" Target="../tags/tag106.xml"/><Relationship Id="rId98" Type="http://schemas.openxmlformats.org/officeDocument/2006/relationships/tags" Target="../tags/tag111.xml"/><Relationship Id="rId121" Type="http://schemas.openxmlformats.org/officeDocument/2006/relationships/tags" Target="../tags/tag134.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103" Type="http://schemas.openxmlformats.org/officeDocument/2006/relationships/tags" Target="../tags/tag116.xml"/><Relationship Id="rId108" Type="http://schemas.openxmlformats.org/officeDocument/2006/relationships/tags" Target="../tags/tag121.xml"/><Relationship Id="rId116" Type="http://schemas.openxmlformats.org/officeDocument/2006/relationships/tags" Target="../tags/tag129.xml"/><Relationship Id="rId124" Type="http://schemas.openxmlformats.org/officeDocument/2006/relationships/image" Target="../media/image1.emf"/><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tags" Target="../tags/tag88.xml"/><Relationship Id="rId83" Type="http://schemas.openxmlformats.org/officeDocument/2006/relationships/tags" Target="../tags/tag96.xml"/><Relationship Id="rId88" Type="http://schemas.openxmlformats.org/officeDocument/2006/relationships/tags" Target="../tags/tag101.xml"/><Relationship Id="rId91" Type="http://schemas.openxmlformats.org/officeDocument/2006/relationships/tags" Target="../tags/tag104.xml"/><Relationship Id="rId96" Type="http://schemas.openxmlformats.org/officeDocument/2006/relationships/tags" Target="../tags/tag109.xml"/><Relationship Id="rId111" Type="http://schemas.openxmlformats.org/officeDocument/2006/relationships/tags" Target="../tags/tag124.xml"/><Relationship Id="rId1" Type="http://schemas.openxmlformats.org/officeDocument/2006/relationships/tags" Target="../tags/tag14.x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6" Type="http://schemas.openxmlformats.org/officeDocument/2006/relationships/tags" Target="../tags/tag119.xml"/><Relationship Id="rId114" Type="http://schemas.openxmlformats.org/officeDocument/2006/relationships/tags" Target="../tags/tag127.xml"/><Relationship Id="rId119" Type="http://schemas.openxmlformats.org/officeDocument/2006/relationships/tags" Target="../tags/tag132.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tags" Target="../tags/tag86.xml"/><Relationship Id="rId78" Type="http://schemas.openxmlformats.org/officeDocument/2006/relationships/tags" Target="../tags/tag91.xml"/><Relationship Id="rId81" Type="http://schemas.openxmlformats.org/officeDocument/2006/relationships/tags" Target="../tags/tag94.xml"/><Relationship Id="rId86" Type="http://schemas.openxmlformats.org/officeDocument/2006/relationships/tags" Target="../tags/tag99.xml"/><Relationship Id="rId94" Type="http://schemas.openxmlformats.org/officeDocument/2006/relationships/tags" Target="../tags/tag107.xml"/><Relationship Id="rId99" Type="http://schemas.openxmlformats.org/officeDocument/2006/relationships/tags" Target="../tags/tag112.xml"/><Relationship Id="rId101" Type="http://schemas.openxmlformats.org/officeDocument/2006/relationships/tags" Target="../tags/tag114.xml"/><Relationship Id="rId122" Type="http://schemas.openxmlformats.org/officeDocument/2006/relationships/slideLayout" Target="../slideLayouts/slideLayout40.xml"/><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109" Type="http://schemas.openxmlformats.org/officeDocument/2006/relationships/tags" Target="../tags/tag122.xml"/><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6" Type="http://schemas.openxmlformats.org/officeDocument/2006/relationships/tags" Target="../tags/tag89.xml"/><Relationship Id="rId97" Type="http://schemas.openxmlformats.org/officeDocument/2006/relationships/tags" Target="../tags/tag110.xml"/><Relationship Id="rId104" Type="http://schemas.openxmlformats.org/officeDocument/2006/relationships/tags" Target="../tags/tag117.xml"/><Relationship Id="rId120" Type="http://schemas.openxmlformats.org/officeDocument/2006/relationships/tags" Target="../tags/tag133.xml"/><Relationship Id="rId125" Type="http://schemas.openxmlformats.org/officeDocument/2006/relationships/image" Target="../media/image4.png"/><Relationship Id="rId7" Type="http://schemas.openxmlformats.org/officeDocument/2006/relationships/tags" Target="../tags/tag20.xml"/><Relationship Id="rId71" Type="http://schemas.openxmlformats.org/officeDocument/2006/relationships/tags" Target="../tags/tag84.xml"/><Relationship Id="rId92" Type="http://schemas.openxmlformats.org/officeDocument/2006/relationships/tags" Target="../tags/tag105.xml"/><Relationship Id="rId2" Type="http://schemas.openxmlformats.org/officeDocument/2006/relationships/tags" Target="../tags/tag15.xml"/><Relationship Id="rId29" Type="http://schemas.openxmlformats.org/officeDocument/2006/relationships/tags" Target="../tags/tag42.xml"/><Relationship Id="rId24" Type="http://schemas.openxmlformats.org/officeDocument/2006/relationships/tags" Target="../tags/tag37.xml"/><Relationship Id="rId40" Type="http://schemas.openxmlformats.org/officeDocument/2006/relationships/tags" Target="../tags/tag53.xml"/><Relationship Id="rId45" Type="http://schemas.openxmlformats.org/officeDocument/2006/relationships/tags" Target="../tags/tag58.xml"/><Relationship Id="rId66" Type="http://schemas.openxmlformats.org/officeDocument/2006/relationships/tags" Target="../tags/tag79.xml"/><Relationship Id="rId87" Type="http://schemas.openxmlformats.org/officeDocument/2006/relationships/tags" Target="../tags/tag100.xml"/><Relationship Id="rId110" Type="http://schemas.openxmlformats.org/officeDocument/2006/relationships/tags" Target="../tags/tag123.xml"/><Relationship Id="rId115" Type="http://schemas.openxmlformats.org/officeDocument/2006/relationships/tags" Target="../tags/tag128.xml"/></Relationships>
</file>

<file path=ppt/slides/_rels/slide10.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tags" Target="../tags/tag268.xml"/><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tags" Target="../tags/tag258.xml"/><Relationship Id="rId21" Type="http://schemas.openxmlformats.org/officeDocument/2006/relationships/image" Target="../media/image42.png"/><Relationship Id="rId7" Type="http://schemas.openxmlformats.org/officeDocument/2006/relationships/tags" Target="../tags/tag262.xml"/><Relationship Id="rId12" Type="http://schemas.openxmlformats.org/officeDocument/2006/relationships/tags" Target="../tags/tag267.xml"/><Relationship Id="rId17" Type="http://schemas.openxmlformats.org/officeDocument/2006/relationships/image" Target="../media/image38.png"/><Relationship Id="rId25" Type="http://schemas.openxmlformats.org/officeDocument/2006/relationships/image" Target="NULL"/><Relationship Id="rId2" Type="http://schemas.openxmlformats.org/officeDocument/2006/relationships/tags" Target="../tags/tag257.xml"/><Relationship Id="rId16" Type="http://schemas.openxmlformats.org/officeDocument/2006/relationships/image" Target="../media/image2.png"/><Relationship Id="rId20" Type="http://schemas.openxmlformats.org/officeDocument/2006/relationships/image" Target="../media/image41.png"/><Relationship Id="rId29" Type="http://schemas.openxmlformats.org/officeDocument/2006/relationships/image" Target="NUL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tags" Target="../tags/tag266.xml"/><Relationship Id="rId24" Type="http://schemas.openxmlformats.org/officeDocument/2006/relationships/image" Target="../media/image45.png"/><Relationship Id="rId5" Type="http://schemas.openxmlformats.org/officeDocument/2006/relationships/tags" Target="../tags/tag260.xml"/><Relationship Id="rId15" Type="http://schemas.openxmlformats.org/officeDocument/2006/relationships/image" Target="../media/image1.emf"/><Relationship Id="rId23" Type="http://schemas.openxmlformats.org/officeDocument/2006/relationships/image" Target="../media/image44.png"/><Relationship Id="rId28" Type="http://schemas.openxmlformats.org/officeDocument/2006/relationships/image" Target="../media/image47.png"/><Relationship Id="rId10" Type="http://schemas.openxmlformats.org/officeDocument/2006/relationships/tags" Target="../tags/tag265.xml"/><Relationship Id="rId19" Type="http://schemas.openxmlformats.org/officeDocument/2006/relationships/image" Target="../media/image40.png"/><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slideLayout" Target="../slideLayouts/slideLayout11.xml"/><Relationship Id="rId22" Type="http://schemas.openxmlformats.org/officeDocument/2006/relationships/image" Target="../media/image43.png"/><Relationship Id="rId27" Type="http://schemas.openxmlformats.org/officeDocument/2006/relationships/image" Target="NULL"/></Relationships>
</file>

<file path=ppt/slides/_rels/slide11.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image" Target="../media/image50.png"/><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image" Target="../media/image49.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11" Type="http://schemas.openxmlformats.org/officeDocument/2006/relationships/image" Target="../media/image48.png"/><Relationship Id="rId5" Type="http://schemas.openxmlformats.org/officeDocument/2006/relationships/tags" Target="../tags/tag273.xml"/><Relationship Id="rId10" Type="http://schemas.openxmlformats.org/officeDocument/2006/relationships/notesSlide" Target="../notesSlides/notesSlide1.xml"/><Relationship Id="rId4" Type="http://schemas.openxmlformats.org/officeDocument/2006/relationships/tags" Target="../tags/tag272.xml"/><Relationship Id="rId9"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tags" Target="../tags/tag289.xml"/><Relationship Id="rId18" Type="http://schemas.openxmlformats.org/officeDocument/2006/relationships/tags" Target="../tags/tag294.xml"/><Relationship Id="rId26" Type="http://schemas.openxmlformats.org/officeDocument/2006/relationships/tags" Target="../tags/tag302.xml"/><Relationship Id="rId39" Type="http://schemas.openxmlformats.org/officeDocument/2006/relationships/diagramQuickStyle" Target="../diagrams/quickStyle1.xml"/><Relationship Id="rId3" Type="http://schemas.openxmlformats.org/officeDocument/2006/relationships/tags" Target="../tags/tag279.xml"/><Relationship Id="rId21" Type="http://schemas.openxmlformats.org/officeDocument/2006/relationships/tags" Target="../tags/tag297.xml"/><Relationship Id="rId34" Type="http://schemas.openxmlformats.org/officeDocument/2006/relationships/slideLayout" Target="../slideLayouts/slideLayout5.xml"/><Relationship Id="rId7" Type="http://schemas.openxmlformats.org/officeDocument/2006/relationships/tags" Target="../tags/tag283.xml"/><Relationship Id="rId12" Type="http://schemas.openxmlformats.org/officeDocument/2006/relationships/tags" Target="../tags/tag288.xml"/><Relationship Id="rId17" Type="http://schemas.openxmlformats.org/officeDocument/2006/relationships/tags" Target="../tags/tag293.xml"/><Relationship Id="rId25" Type="http://schemas.openxmlformats.org/officeDocument/2006/relationships/tags" Target="../tags/tag301.xml"/><Relationship Id="rId33" Type="http://schemas.openxmlformats.org/officeDocument/2006/relationships/tags" Target="../tags/tag309.xml"/><Relationship Id="rId38" Type="http://schemas.openxmlformats.org/officeDocument/2006/relationships/diagramLayout" Target="../diagrams/layout1.xml"/><Relationship Id="rId2" Type="http://schemas.openxmlformats.org/officeDocument/2006/relationships/tags" Target="../tags/tag278.xml"/><Relationship Id="rId16" Type="http://schemas.openxmlformats.org/officeDocument/2006/relationships/tags" Target="../tags/tag292.xml"/><Relationship Id="rId20" Type="http://schemas.openxmlformats.org/officeDocument/2006/relationships/tags" Target="../tags/tag296.xml"/><Relationship Id="rId29" Type="http://schemas.openxmlformats.org/officeDocument/2006/relationships/tags" Target="../tags/tag305.xml"/><Relationship Id="rId41" Type="http://schemas.microsoft.com/office/2007/relationships/diagramDrawing" Target="../diagrams/drawing1.xml"/><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tags" Target="../tags/tag287.xml"/><Relationship Id="rId24" Type="http://schemas.openxmlformats.org/officeDocument/2006/relationships/tags" Target="../tags/tag300.xml"/><Relationship Id="rId32" Type="http://schemas.openxmlformats.org/officeDocument/2006/relationships/tags" Target="../tags/tag308.xml"/><Relationship Id="rId37" Type="http://schemas.openxmlformats.org/officeDocument/2006/relationships/diagramData" Target="../diagrams/data1.xml"/><Relationship Id="rId40" Type="http://schemas.openxmlformats.org/officeDocument/2006/relationships/diagramColors" Target="../diagrams/colors1.xml"/><Relationship Id="rId5" Type="http://schemas.openxmlformats.org/officeDocument/2006/relationships/tags" Target="../tags/tag281.xml"/><Relationship Id="rId15" Type="http://schemas.openxmlformats.org/officeDocument/2006/relationships/tags" Target="../tags/tag291.xml"/><Relationship Id="rId23" Type="http://schemas.openxmlformats.org/officeDocument/2006/relationships/tags" Target="../tags/tag299.xml"/><Relationship Id="rId28" Type="http://schemas.openxmlformats.org/officeDocument/2006/relationships/tags" Target="../tags/tag304.xml"/><Relationship Id="rId36" Type="http://schemas.openxmlformats.org/officeDocument/2006/relationships/image" Target="../media/image51.png"/><Relationship Id="rId10" Type="http://schemas.openxmlformats.org/officeDocument/2006/relationships/tags" Target="../tags/tag286.xml"/><Relationship Id="rId19" Type="http://schemas.openxmlformats.org/officeDocument/2006/relationships/tags" Target="../tags/tag295.xml"/><Relationship Id="rId31" Type="http://schemas.openxmlformats.org/officeDocument/2006/relationships/tags" Target="../tags/tag307.xml"/><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tags" Target="../tags/tag290.xml"/><Relationship Id="rId22" Type="http://schemas.openxmlformats.org/officeDocument/2006/relationships/tags" Target="../tags/tag298.xml"/><Relationship Id="rId27" Type="http://schemas.openxmlformats.org/officeDocument/2006/relationships/tags" Target="../tags/tag303.xml"/><Relationship Id="rId30" Type="http://schemas.openxmlformats.org/officeDocument/2006/relationships/tags" Target="../tags/tag306.xml"/><Relationship Id="rId35" Type="http://schemas.openxmlformats.org/officeDocument/2006/relationships/image" Target="../media/image2.png"/></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5.xml"/><Relationship Id="rId13" Type="http://schemas.openxmlformats.org/officeDocument/2006/relationships/diagramQuickStyle" Target="../diagrams/quickStyle2.xml"/><Relationship Id="rId18" Type="http://schemas.openxmlformats.org/officeDocument/2006/relationships/image" Target="../media/image54.jpg"/><Relationship Id="rId3" Type="http://schemas.openxmlformats.org/officeDocument/2006/relationships/tags" Target="../tags/tag312.xml"/><Relationship Id="rId7" Type="http://schemas.openxmlformats.org/officeDocument/2006/relationships/tags" Target="../tags/tag316.xml"/><Relationship Id="rId12" Type="http://schemas.openxmlformats.org/officeDocument/2006/relationships/diagramLayout" Target="../diagrams/layout2.xml"/><Relationship Id="rId17" Type="http://schemas.openxmlformats.org/officeDocument/2006/relationships/image" Target="../media/image53.png"/><Relationship Id="rId2" Type="http://schemas.openxmlformats.org/officeDocument/2006/relationships/tags" Target="../tags/tag311.xml"/><Relationship Id="rId16" Type="http://schemas.openxmlformats.org/officeDocument/2006/relationships/image" Target="../media/image52.png"/><Relationship Id="rId1" Type="http://schemas.openxmlformats.org/officeDocument/2006/relationships/tags" Target="../tags/tag310.xml"/><Relationship Id="rId6" Type="http://schemas.openxmlformats.org/officeDocument/2006/relationships/tags" Target="../tags/tag315.xml"/><Relationship Id="rId11" Type="http://schemas.openxmlformats.org/officeDocument/2006/relationships/diagramData" Target="../diagrams/data2.xml"/><Relationship Id="rId5" Type="http://schemas.openxmlformats.org/officeDocument/2006/relationships/tags" Target="../tags/tag314.xml"/><Relationship Id="rId15" Type="http://schemas.microsoft.com/office/2007/relationships/diagramDrawing" Target="../diagrams/drawing2.xml"/><Relationship Id="rId10" Type="http://schemas.openxmlformats.org/officeDocument/2006/relationships/image" Target="../media/image2.png"/><Relationship Id="rId19" Type="http://schemas.openxmlformats.org/officeDocument/2006/relationships/image" Target="../media/image55.PNG"/><Relationship Id="rId4" Type="http://schemas.openxmlformats.org/officeDocument/2006/relationships/tags" Target="../tags/tag313.xml"/><Relationship Id="rId9" Type="http://schemas.openxmlformats.org/officeDocument/2006/relationships/image" Target="../media/image1.emf"/><Relationship Id="rId14" Type="http://schemas.openxmlformats.org/officeDocument/2006/relationships/diagramColors" Target="../diagrams/colors2.xml"/></Relationships>
</file>

<file path=ppt/slides/_rels/slide14.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tags" Target="../tags/tag329.xml"/><Relationship Id="rId18" Type="http://schemas.openxmlformats.org/officeDocument/2006/relationships/diagramLayout" Target="../diagrams/layout3.xml"/><Relationship Id="rId26" Type="http://schemas.openxmlformats.org/officeDocument/2006/relationships/image" Target="../media/image60.png"/><Relationship Id="rId3" Type="http://schemas.openxmlformats.org/officeDocument/2006/relationships/tags" Target="../tags/tag319.xml"/><Relationship Id="rId21" Type="http://schemas.microsoft.com/office/2007/relationships/diagramDrawing" Target="../diagrams/drawing3.xml"/><Relationship Id="rId7" Type="http://schemas.openxmlformats.org/officeDocument/2006/relationships/tags" Target="../tags/tag323.xml"/><Relationship Id="rId12" Type="http://schemas.openxmlformats.org/officeDocument/2006/relationships/tags" Target="../tags/tag328.xml"/><Relationship Id="rId17" Type="http://schemas.openxmlformats.org/officeDocument/2006/relationships/diagramData" Target="../diagrams/data3.xml"/><Relationship Id="rId25" Type="http://schemas.openxmlformats.org/officeDocument/2006/relationships/image" Target="../media/image59.jpeg"/><Relationship Id="rId2" Type="http://schemas.openxmlformats.org/officeDocument/2006/relationships/tags" Target="../tags/tag318.xml"/><Relationship Id="rId16" Type="http://schemas.openxmlformats.org/officeDocument/2006/relationships/image" Target="../media/image2.png"/><Relationship Id="rId20" Type="http://schemas.openxmlformats.org/officeDocument/2006/relationships/diagramColors" Target="../diagrams/colors3.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24" Type="http://schemas.openxmlformats.org/officeDocument/2006/relationships/image" Target="../media/image58.jpg"/><Relationship Id="rId5" Type="http://schemas.openxmlformats.org/officeDocument/2006/relationships/tags" Target="../tags/tag321.xml"/><Relationship Id="rId15" Type="http://schemas.openxmlformats.org/officeDocument/2006/relationships/image" Target="../media/image1.emf"/><Relationship Id="rId23" Type="http://schemas.openxmlformats.org/officeDocument/2006/relationships/image" Target="../media/image57.png"/><Relationship Id="rId10" Type="http://schemas.openxmlformats.org/officeDocument/2006/relationships/tags" Target="../tags/tag326.xml"/><Relationship Id="rId19" Type="http://schemas.openxmlformats.org/officeDocument/2006/relationships/diagramQuickStyle" Target="../diagrams/quickStyle3.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slideLayout" Target="../slideLayouts/slideLayout5.xml"/><Relationship Id="rId22" Type="http://schemas.openxmlformats.org/officeDocument/2006/relationships/image" Target="../media/image56.png"/><Relationship Id="rId27" Type="http://schemas.openxmlformats.org/officeDocument/2006/relationships/image" Target="../media/image61.png"/></Relationships>
</file>

<file path=ppt/slides/_rels/slide15.xml.rels><?xml version="1.0" encoding="UTF-8" standalone="yes"?>
<Relationships xmlns="http://schemas.openxmlformats.org/package/2006/relationships"><Relationship Id="rId8" Type="http://schemas.openxmlformats.org/officeDocument/2006/relationships/tags" Target="../tags/tag337.xml"/><Relationship Id="rId13" Type="http://schemas.openxmlformats.org/officeDocument/2006/relationships/image" Target="../media/image62.png"/><Relationship Id="rId18" Type="http://schemas.openxmlformats.org/officeDocument/2006/relationships/image" Target="../media/image1.emf"/><Relationship Id="rId26" Type="http://schemas.openxmlformats.org/officeDocument/2006/relationships/image" Target="../media/image73.png"/><Relationship Id="rId3" Type="http://schemas.openxmlformats.org/officeDocument/2006/relationships/tags" Target="../tags/tag332.xml"/><Relationship Id="rId21" Type="http://schemas.openxmlformats.org/officeDocument/2006/relationships/image" Target="../media/image68.jpeg"/><Relationship Id="rId7" Type="http://schemas.openxmlformats.org/officeDocument/2006/relationships/tags" Target="../tags/tag336.xml"/><Relationship Id="rId12" Type="http://schemas.openxmlformats.org/officeDocument/2006/relationships/slideLayout" Target="../slideLayouts/slideLayout11.xml"/><Relationship Id="rId17" Type="http://schemas.openxmlformats.org/officeDocument/2006/relationships/image" Target="../media/image66.png"/><Relationship Id="rId25" Type="http://schemas.openxmlformats.org/officeDocument/2006/relationships/image" Target="../media/image72.png"/><Relationship Id="rId2" Type="http://schemas.openxmlformats.org/officeDocument/2006/relationships/tags" Target="../tags/tag331.xml"/><Relationship Id="rId16" Type="http://schemas.openxmlformats.org/officeDocument/2006/relationships/image" Target="../media/image65.png"/><Relationship Id="rId20" Type="http://schemas.openxmlformats.org/officeDocument/2006/relationships/image" Target="../media/image67.jpeg"/><Relationship Id="rId1" Type="http://schemas.openxmlformats.org/officeDocument/2006/relationships/tags" Target="../tags/tag330.xml"/><Relationship Id="rId6" Type="http://schemas.openxmlformats.org/officeDocument/2006/relationships/tags" Target="../tags/tag335.xml"/><Relationship Id="rId11" Type="http://schemas.openxmlformats.org/officeDocument/2006/relationships/tags" Target="../tags/tag340.xml"/><Relationship Id="rId24" Type="http://schemas.openxmlformats.org/officeDocument/2006/relationships/image" Target="../media/image71.png"/><Relationship Id="rId5" Type="http://schemas.openxmlformats.org/officeDocument/2006/relationships/tags" Target="../tags/tag334.xml"/><Relationship Id="rId15" Type="http://schemas.openxmlformats.org/officeDocument/2006/relationships/image" Target="../media/image64.png"/><Relationship Id="rId23" Type="http://schemas.openxmlformats.org/officeDocument/2006/relationships/image" Target="../media/image70.png"/><Relationship Id="rId10" Type="http://schemas.openxmlformats.org/officeDocument/2006/relationships/tags" Target="../tags/tag339.xml"/><Relationship Id="rId19" Type="http://schemas.openxmlformats.org/officeDocument/2006/relationships/image" Target="../media/image2.png"/><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image" Target="../media/image63.png"/><Relationship Id="rId22" Type="http://schemas.openxmlformats.org/officeDocument/2006/relationships/image" Target="../media/image69.png"/><Relationship Id="rId27" Type="http://schemas.openxmlformats.org/officeDocument/2006/relationships/image" Target="../media/image74.pn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43.xml"/><Relationship Id="rId7" Type="http://schemas.openxmlformats.org/officeDocument/2006/relationships/tags" Target="../tags/tag347.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image" Target="../media/image4.png"/><Relationship Id="rId5" Type="http://schemas.openxmlformats.org/officeDocument/2006/relationships/tags" Target="../tags/tag345.xml"/><Relationship Id="rId10" Type="http://schemas.openxmlformats.org/officeDocument/2006/relationships/image" Target="../media/image1.emf"/><Relationship Id="rId4" Type="http://schemas.openxmlformats.org/officeDocument/2006/relationships/tags" Target="../tags/tag344.xml"/><Relationship Id="rId9" Type="http://schemas.openxmlformats.org/officeDocument/2006/relationships/image" Target="../media/image75.png"/></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image" Target="../media/image6.jpeg"/><Relationship Id="rId5" Type="http://schemas.openxmlformats.org/officeDocument/2006/relationships/tags" Target="../tags/tag139.xml"/><Relationship Id="rId10" Type="http://schemas.openxmlformats.org/officeDocument/2006/relationships/image" Target="../media/image2.png"/><Relationship Id="rId4" Type="http://schemas.openxmlformats.org/officeDocument/2006/relationships/tags" Target="../tags/tag138.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9.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8.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7.png"/><Relationship Id="rId5" Type="http://schemas.openxmlformats.org/officeDocument/2006/relationships/tags" Target="../tags/tag146.xml"/><Relationship Id="rId10" Type="http://schemas.openxmlformats.org/officeDocument/2006/relationships/image" Target="../media/image2.png"/><Relationship Id="rId4" Type="http://schemas.openxmlformats.org/officeDocument/2006/relationships/tags" Target="../tags/tag145.xml"/><Relationship Id="rId9"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151.xml"/><Relationship Id="rId7" Type="http://schemas.openxmlformats.org/officeDocument/2006/relationships/tags" Target="../tags/tag155.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10.png"/><Relationship Id="rId5" Type="http://schemas.openxmlformats.org/officeDocument/2006/relationships/tags" Target="../tags/tag153.xml"/><Relationship Id="rId10" Type="http://schemas.openxmlformats.org/officeDocument/2006/relationships/image" Target="../media/image2.png"/><Relationship Id="rId4" Type="http://schemas.openxmlformats.org/officeDocument/2006/relationships/tags" Target="../tags/tag152.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image" Target="../media/image12.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image" Target="../media/image11.jpeg"/><Relationship Id="rId5" Type="http://schemas.openxmlformats.org/officeDocument/2006/relationships/tags" Target="../tags/tag160.xml"/><Relationship Id="rId10" Type="http://schemas.openxmlformats.org/officeDocument/2006/relationships/image" Target="../media/image2.png"/><Relationship Id="rId4" Type="http://schemas.openxmlformats.org/officeDocument/2006/relationships/tags" Target="../tags/tag159.xml"/><Relationship Id="rId9"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tags" Target="../tags/tag175.xml"/><Relationship Id="rId18" Type="http://schemas.openxmlformats.org/officeDocument/2006/relationships/image" Target="../media/image2.png"/><Relationship Id="rId3" Type="http://schemas.openxmlformats.org/officeDocument/2006/relationships/tags" Target="../tags/tag165.xml"/><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image" Target="../media/image1.emf"/><Relationship Id="rId2" Type="http://schemas.openxmlformats.org/officeDocument/2006/relationships/tags" Target="../tags/tag164.xml"/><Relationship Id="rId16" Type="http://schemas.openxmlformats.org/officeDocument/2006/relationships/slideLayout" Target="../slideLayouts/slideLayout11.xml"/><Relationship Id="rId1" Type="http://schemas.openxmlformats.org/officeDocument/2006/relationships/tags" Target="../tags/tag163.xml"/><Relationship Id="rId6" Type="http://schemas.openxmlformats.org/officeDocument/2006/relationships/tags" Target="../tags/tag168.xml"/><Relationship Id="rId11" Type="http://schemas.openxmlformats.org/officeDocument/2006/relationships/tags" Target="../tags/tag173.xml"/><Relationship Id="rId5" Type="http://schemas.openxmlformats.org/officeDocument/2006/relationships/tags" Target="../tags/tag167.xml"/><Relationship Id="rId15" Type="http://schemas.openxmlformats.org/officeDocument/2006/relationships/tags" Target="../tags/tag177.xml"/><Relationship Id="rId10" Type="http://schemas.openxmlformats.org/officeDocument/2006/relationships/tags" Target="../tags/tag172.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s>
</file>

<file path=ppt/slides/_rels/slide7.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image" Target="../media/image2.png"/><Relationship Id="rId2" Type="http://schemas.openxmlformats.org/officeDocument/2006/relationships/tags" Target="../tags/tag179.xml"/><Relationship Id="rId16" Type="http://schemas.openxmlformats.org/officeDocument/2006/relationships/image" Target="../media/image1.emf"/><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tags" Target="../tags/tag188.xml"/><Relationship Id="rId5" Type="http://schemas.openxmlformats.org/officeDocument/2006/relationships/tags" Target="../tags/tag182.xml"/><Relationship Id="rId15" Type="http://schemas.openxmlformats.org/officeDocument/2006/relationships/slideLayout" Target="../slideLayouts/slideLayout5.xml"/><Relationship Id="rId10" Type="http://schemas.openxmlformats.org/officeDocument/2006/relationships/tags" Target="../tags/tag187.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s>
</file>

<file path=ppt/slides/_rels/slide8.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tags" Target="../tags/tag217.xml"/><Relationship Id="rId39" Type="http://schemas.openxmlformats.org/officeDocument/2006/relationships/image" Target="../media/image23.png"/><Relationship Id="rId3" Type="http://schemas.openxmlformats.org/officeDocument/2006/relationships/tags" Target="../tags/tag194.xml"/><Relationship Id="rId21" Type="http://schemas.openxmlformats.org/officeDocument/2006/relationships/tags" Target="../tags/tag212.xml"/><Relationship Id="rId34" Type="http://schemas.openxmlformats.org/officeDocument/2006/relationships/image" Target="../media/image18.jpg"/><Relationship Id="rId42" Type="http://schemas.openxmlformats.org/officeDocument/2006/relationships/image" Target="../media/image26.png"/><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image" Target="../media/image17.jpg"/><Relationship Id="rId38" Type="http://schemas.openxmlformats.org/officeDocument/2006/relationships/image" Target="../media/image22.jpg"/><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29" Type="http://schemas.openxmlformats.org/officeDocument/2006/relationships/image" Target="../media/image13.png"/><Relationship Id="rId41" Type="http://schemas.openxmlformats.org/officeDocument/2006/relationships/image" Target="../media/image25.png"/><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image" Target="../media/image16.jpeg"/><Relationship Id="rId37" Type="http://schemas.openxmlformats.org/officeDocument/2006/relationships/image" Target="../media/image21.gif"/><Relationship Id="rId40" Type="http://schemas.openxmlformats.org/officeDocument/2006/relationships/image" Target="../media/image24.png"/><Relationship Id="rId45" Type="http://schemas.openxmlformats.org/officeDocument/2006/relationships/image" Target="../media/image2.png"/><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slideLayout" Target="../slideLayouts/slideLayout11.xml"/><Relationship Id="rId36" Type="http://schemas.openxmlformats.org/officeDocument/2006/relationships/image" Target="../media/image20.gif"/><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image" Target="../media/image15.jpg"/><Relationship Id="rId44" Type="http://schemas.openxmlformats.org/officeDocument/2006/relationships/image" Target="../media/image1.emf"/><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image" Target="../media/image14.png"/><Relationship Id="rId35" Type="http://schemas.openxmlformats.org/officeDocument/2006/relationships/image" Target="../media/image19.jpg"/><Relationship Id="rId43" Type="http://schemas.openxmlformats.org/officeDocument/2006/relationships/image" Target="../media/image27.png"/></Relationships>
</file>

<file path=ppt/slides/_rels/slide9.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tags" Target="../tags/tag244.xml"/><Relationship Id="rId39" Type="http://schemas.openxmlformats.org/officeDocument/2006/relationships/image" Target="../media/image1.emf"/><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tags" Target="../tags/tag252.xml"/><Relationship Id="rId42" Type="http://schemas.openxmlformats.org/officeDocument/2006/relationships/hyperlink" Target="http://journals.plos.org/plosone/article?id=10.1371/journal.pone.0189854" TargetMode="External"/><Relationship Id="rId47" Type="http://schemas.openxmlformats.org/officeDocument/2006/relationships/image" Target="../media/image33.png"/><Relationship Id="rId50" Type="http://schemas.openxmlformats.org/officeDocument/2006/relationships/image" Target="../media/image36.jpeg"/><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38" Type="http://schemas.openxmlformats.org/officeDocument/2006/relationships/slideLayout" Target="../slideLayouts/slideLayout11.xml"/><Relationship Id="rId46" Type="http://schemas.openxmlformats.org/officeDocument/2006/relationships/image" Target="../media/image32.png"/><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tags" Target="../tags/tag247.xml"/><Relationship Id="rId41" Type="http://schemas.openxmlformats.org/officeDocument/2006/relationships/image" Target="../media/image28.png"/><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tags" Target="../tags/tag250.xml"/><Relationship Id="rId37" Type="http://schemas.openxmlformats.org/officeDocument/2006/relationships/tags" Target="../tags/tag255.xml"/><Relationship Id="rId40" Type="http://schemas.openxmlformats.org/officeDocument/2006/relationships/image" Target="../media/image2.png"/><Relationship Id="rId45" Type="http://schemas.openxmlformats.org/officeDocument/2006/relationships/image" Target="../media/image31.png"/><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tags" Target="../tags/tag254.xml"/><Relationship Id="rId49" Type="http://schemas.openxmlformats.org/officeDocument/2006/relationships/image" Target="../media/image35.jpeg"/><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tags" Target="../tags/tag249.xml"/><Relationship Id="rId44" Type="http://schemas.openxmlformats.org/officeDocument/2006/relationships/image" Target="../media/image30.png"/><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tags" Target="../tags/tag253.xml"/><Relationship Id="rId43" Type="http://schemas.openxmlformats.org/officeDocument/2006/relationships/image" Target="../media/image29.png"/><Relationship Id="rId48" Type="http://schemas.openxmlformats.org/officeDocument/2006/relationships/image" Target="../media/image34.jpeg"/><Relationship Id="rId8" Type="http://schemas.openxmlformats.org/officeDocument/2006/relationships/tags" Target="../tags/tag226.xml"/><Relationship Id="rId51"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p:cNvPicPr>
          <p:nvPr>
            <p:custDataLst>
              <p:tags r:id="rId2"/>
            </p:custDataLst>
          </p:nvPr>
        </p:nvPicPr>
        <p:blipFill>
          <a:blip r:embed="rId123">
            <a:extLst>
              <a:ext uri="{28A0092B-C50C-407E-A947-70E740481C1C}">
                <a14:useLocalDpi xmlns:a14="http://schemas.microsoft.com/office/drawing/2010/main" val="0"/>
              </a:ext>
            </a:extLst>
          </a:blip>
          <a:stretch>
            <a:fillRect/>
          </a:stretch>
        </p:blipFill>
        <p:spPr>
          <a:xfrm>
            <a:off x="196" y="0"/>
            <a:ext cx="12192314" cy="6858353"/>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6" name="Picture 5"/>
          <p:cNvPicPr>
            <a:picLocks/>
          </p:cNvPicPr>
          <p:nvPr>
            <p:custDataLst>
              <p:tags r:id="rId3"/>
            </p:custDataLst>
          </p:nvPr>
        </p:nvPicPr>
        <p:blipFill>
          <a:blip r:embed="rId124"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3" name="Picture 2"/>
          <p:cNvPicPr>
            <a:picLocks/>
          </p:cNvPicPr>
          <p:nvPr>
            <p:custDataLst>
              <p:tags r:id="rId4"/>
            </p:custDataLst>
          </p:nvPr>
        </p:nvPicPr>
        <p:blipFill>
          <a:blip r:embed="rId125" cstate="print">
            <a:extLst>
              <a:ext uri="{28A0092B-C50C-407E-A947-70E740481C1C}">
                <a14:useLocalDpi xmlns:a14="http://schemas.microsoft.com/office/drawing/2010/main" val="0"/>
              </a:ext>
            </a:extLst>
          </a:blip>
          <a:stretch>
            <a:fillRect/>
          </a:stretch>
        </p:blipFill>
        <p:spPr>
          <a:xfrm>
            <a:off x="12048540" y="0"/>
            <a:ext cx="143970" cy="6858353"/>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07" name="Picture 106"/>
          <p:cNvPicPr>
            <a:picLocks noChangeAspect="1"/>
          </p:cNvPicPr>
          <p:nvPr>
            <p:custDataLst>
              <p:tags r:id="rId5"/>
            </p:custDataLst>
          </p:nvPr>
        </p:nvPicPr>
        <p:blipFill rotWithShape="1">
          <a:blip r:embed="rId126" cstate="print">
            <a:extLst>
              <a:ext uri="{28A0092B-C50C-407E-A947-70E740481C1C}">
                <a14:useLocalDpi xmlns:a14="http://schemas.microsoft.com/office/drawing/2010/main" val="0"/>
              </a:ext>
            </a:extLst>
          </a:blip>
          <a:srcRect t="7831" b="7831"/>
          <a:stretch/>
        </p:blipFill>
        <p:spPr>
          <a:xfrm>
            <a:off x="198" y="1"/>
            <a:ext cx="12189134" cy="6857999"/>
          </a:xfrm>
          <a:prstGeom prst="rect">
            <a:avLst/>
          </a:prstGeom>
        </p:spPr>
      </p:pic>
      <p:cxnSp>
        <p:nvCxnSpPr>
          <p:cNvPr id="18" name="Straight Connector 17"/>
          <p:cNvCxnSpPr>
            <a:stCxn id="8" idx="6"/>
          </p:cNvCxnSpPr>
          <p:nvPr>
            <p:custDataLst>
              <p:tags r:id="rId6"/>
            </p:custDataLst>
          </p:nvPr>
        </p:nvCxnSpPr>
        <p:spPr>
          <a:xfrm>
            <a:off x="1051923" y="642221"/>
            <a:ext cx="1429645" cy="82571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9" idx="7"/>
            <a:endCxn id="10" idx="2"/>
          </p:cNvCxnSpPr>
          <p:nvPr>
            <p:custDataLst>
              <p:tags r:id="rId7"/>
            </p:custDataLst>
          </p:nvPr>
        </p:nvCxnSpPr>
        <p:spPr>
          <a:xfrm flipV="1">
            <a:off x="2907727" y="394197"/>
            <a:ext cx="2111494" cy="10710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8" idx="4"/>
            <a:endCxn id="17" idx="0"/>
          </p:cNvCxnSpPr>
          <p:nvPr>
            <p:custDataLst>
              <p:tags r:id="rId8"/>
            </p:custDataLst>
          </p:nvPr>
        </p:nvCxnSpPr>
        <p:spPr>
          <a:xfrm flipH="1">
            <a:off x="656294" y="927517"/>
            <a:ext cx="110334" cy="410667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7" idx="7"/>
            <a:endCxn id="9" idx="3"/>
          </p:cNvCxnSpPr>
          <p:nvPr>
            <p:custDataLst>
              <p:tags r:id="rId9"/>
            </p:custDataLst>
          </p:nvPr>
        </p:nvCxnSpPr>
        <p:spPr>
          <a:xfrm flipV="1">
            <a:off x="858028" y="1868685"/>
            <a:ext cx="1646231" cy="324907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7" idx="6"/>
            <a:endCxn id="16" idx="2"/>
          </p:cNvCxnSpPr>
          <p:nvPr>
            <p:custDataLst>
              <p:tags r:id="rId10"/>
            </p:custDataLst>
          </p:nvPr>
        </p:nvCxnSpPr>
        <p:spPr>
          <a:xfrm flipV="1">
            <a:off x="941589" y="4152380"/>
            <a:ext cx="2019703" cy="116711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6" idx="0"/>
            <a:endCxn id="9" idx="5"/>
          </p:cNvCxnSpPr>
          <p:nvPr>
            <p:custDataLst>
              <p:tags r:id="rId11"/>
            </p:custDataLst>
          </p:nvPr>
        </p:nvCxnSpPr>
        <p:spPr>
          <a:xfrm flipH="1" flipV="1">
            <a:off x="2907727" y="1868686"/>
            <a:ext cx="338860" cy="199839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6" idx="5"/>
            <a:endCxn id="25" idx="1"/>
          </p:cNvCxnSpPr>
          <p:nvPr>
            <p:custDataLst>
              <p:tags r:id="rId12"/>
            </p:custDataLst>
          </p:nvPr>
        </p:nvCxnSpPr>
        <p:spPr>
          <a:xfrm>
            <a:off x="3448322" y="4354114"/>
            <a:ext cx="973600" cy="1882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6" idx="6"/>
            <a:endCxn id="24" idx="2"/>
          </p:cNvCxnSpPr>
          <p:nvPr>
            <p:custDataLst>
              <p:tags r:id="rId13"/>
            </p:custDataLst>
          </p:nvPr>
        </p:nvCxnSpPr>
        <p:spPr>
          <a:xfrm>
            <a:off x="3531883" y="4152380"/>
            <a:ext cx="1830853" cy="8468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10" idx="4"/>
          </p:cNvCxnSpPr>
          <p:nvPr>
            <p:custDataLst>
              <p:tags r:id="rId14"/>
            </p:custDataLst>
          </p:nvPr>
        </p:nvCxnSpPr>
        <p:spPr>
          <a:xfrm flipH="1" flipV="1">
            <a:off x="5304516" y="679492"/>
            <a:ext cx="488370" cy="309061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0" idx="6"/>
            <a:endCxn id="11" idx="1"/>
          </p:cNvCxnSpPr>
          <p:nvPr>
            <p:custDataLst>
              <p:tags r:id="rId15"/>
            </p:custDataLst>
          </p:nvPr>
        </p:nvCxnSpPr>
        <p:spPr>
          <a:xfrm>
            <a:off x="5589812" y="394196"/>
            <a:ext cx="2282283" cy="166988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24" idx="7"/>
            <a:endCxn id="11" idx="3"/>
          </p:cNvCxnSpPr>
          <p:nvPr>
            <p:custDataLst>
              <p:tags r:id="rId16"/>
            </p:custDataLst>
          </p:nvPr>
        </p:nvCxnSpPr>
        <p:spPr>
          <a:xfrm flipV="1">
            <a:off x="6127466" y="2467546"/>
            <a:ext cx="1744629" cy="145276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11" idx="7"/>
            <a:endCxn id="13" idx="2"/>
          </p:cNvCxnSpPr>
          <p:nvPr>
            <p:custDataLst>
              <p:tags r:id="rId17"/>
            </p:custDataLst>
          </p:nvPr>
        </p:nvCxnSpPr>
        <p:spPr>
          <a:xfrm flipV="1">
            <a:off x="8275563" y="546636"/>
            <a:ext cx="2776299" cy="15174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13" idx="4"/>
            <a:endCxn id="12" idx="0"/>
          </p:cNvCxnSpPr>
          <p:nvPr>
            <p:custDataLst>
              <p:tags r:id="rId18"/>
            </p:custDataLst>
          </p:nvPr>
        </p:nvCxnSpPr>
        <p:spPr>
          <a:xfrm flipH="1">
            <a:off x="10727400" y="831931"/>
            <a:ext cx="609757" cy="21055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14" idx="1"/>
            <a:endCxn id="11" idx="5"/>
          </p:cNvCxnSpPr>
          <p:nvPr>
            <p:custDataLst>
              <p:tags r:id="rId19"/>
            </p:custDataLst>
          </p:nvPr>
        </p:nvCxnSpPr>
        <p:spPr>
          <a:xfrm flipH="1" flipV="1">
            <a:off x="8275563" y="2467545"/>
            <a:ext cx="1744712" cy="328213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15" idx="6"/>
            <a:endCxn id="14" idx="2"/>
          </p:cNvCxnSpPr>
          <p:nvPr>
            <p:custDataLst>
              <p:tags r:id="rId20"/>
            </p:custDataLst>
          </p:nvPr>
        </p:nvCxnSpPr>
        <p:spPr>
          <a:xfrm>
            <a:off x="8130466" y="5634428"/>
            <a:ext cx="1806248" cy="3169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15" idx="1"/>
            <a:endCxn id="24" idx="5"/>
          </p:cNvCxnSpPr>
          <p:nvPr>
            <p:custDataLst>
              <p:tags r:id="rId21"/>
            </p:custDataLst>
          </p:nvPr>
        </p:nvCxnSpPr>
        <p:spPr>
          <a:xfrm flipH="1" flipV="1">
            <a:off x="6127466" y="4553829"/>
            <a:ext cx="1515970" cy="8788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15" idx="0"/>
            <a:endCxn id="11" idx="4"/>
          </p:cNvCxnSpPr>
          <p:nvPr>
            <p:custDataLst>
              <p:tags r:id="rId22"/>
            </p:custDataLst>
          </p:nvPr>
        </p:nvCxnSpPr>
        <p:spPr>
          <a:xfrm flipV="1">
            <a:off x="7845170" y="2551107"/>
            <a:ext cx="228659" cy="279802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25" idx="7"/>
            <a:endCxn id="24" idx="4"/>
          </p:cNvCxnSpPr>
          <p:nvPr>
            <p:custDataLst>
              <p:tags r:id="rId23"/>
            </p:custDataLst>
          </p:nvPr>
        </p:nvCxnSpPr>
        <p:spPr>
          <a:xfrm flipV="1">
            <a:off x="4856085" y="4685037"/>
            <a:ext cx="954620" cy="15516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Oval 37"/>
          <p:cNvSpPr/>
          <p:nvPr>
            <p:custDataLst>
              <p:tags r:id="rId24"/>
            </p:custDataLst>
          </p:nvPr>
        </p:nvSpPr>
        <p:spPr>
          <a:xfrm>
            <a:off x="1160543" y="2937495"/>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39" name="Oval 38"/>
          <p:cNvSpPr/>
          <p:nvPr>
            <p:custDataLst>
              <p:tags r:id="rId25"/>
            </p:custDataLst>
          </p:nvPr>
        </p:nvSpPr>
        <p:spPr>
          <a:xfrm>
            <a:off x="1487008" y="4348154"/>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0" name="Oval 39"/>
          <p:cNvSpPr/>
          <p:nvPr>
            <p:custDataLst>
              <p:tags r:id="rId26"/>
            </p:custDataLst>
          </p:nvPr>
        </p:nvSpPr>
        <p:spPr>
          <a:xfrm>
            <a:off x="2566618" y="3175923"/>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1" name="Oval 40"/>
          <p:cNvSpPr/>
          <p:nvPr>
            <p:custDataLst>
              <p:tags r:id="rId27"/>
            </p:custDataLst>
          </p:nvPr>
        </p:nvSpPr>
        <p:spPr>
          <a:xfrm>
            <a:off x="3783512" y="1803861"/>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2" name="Oval 41"/>
          <p:cNvSpPr/>
          <p:nvPr>
            <p:custDataLst>
              <p:tags r:id="rId28"/>
            </p:custDataLst>
          </p:nvPr>
        </p:nvSpPr>
        <p:spPr>
          <a:xfrm>
            <a:off x="4312610" y="1947790"/>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3" name="Oval 42"/>
          <p:cNvSpPr/>
          <p:nvPr>
            <p:custDataLst>
              <p:tags r:id="rId29"/>
            </p:custDataLst>
          </p:nvPr>
        </p:nvSpPr>
        <p:spPr>
          <a:xfrm>
            <a:off x="3750807" y="2888599"/>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4" name="Oval 43"/>
          <p:cNvSpPr/>
          <p:nvPr>
            <p:custDataLst>
              <p:tags r:id="rId30"/>
            </p:custDataLst>
          </p:nvPr>
        </p:nvSpPr>
        <p:spPr>
          <a:xfrm>
            <a:off x="4800096" y="3498489"/>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5" name="Oval 44"/>
          <p:cNvSpPr/>
          <p:nvPr>
            <p:custDataLst>
              <p:tags r:id="rId31"/>
            </p:custDataLst>
          </p:nvPr>
        </p:nvSpPr>
        <p:spPr>
          <a:xfrm>
            <a:off x="4848009" y="4956954"/>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6" name="Oval 45"/>
          <p:cNvSpPr/>
          <p:nvPr>
            <p:custDataLst>
              <p:tags r:id="rId32"/>
            </p:custDataLst>
          </p:nvPr>
        </p:nvSpPr>
        <p:spPr>
          <a:xfrm>
            <a:off x="5992051" y="5397302"/>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7" name="Oval 46"/>
          <p:cNvSpPr/>
          <p:nvPr>
            <p:custDataLst>
              <p:tags r:id="rId33"/>
            </p:custDataLst>
          </p:nvPr>
        </p:nvSpPr>
        <p:spPr>
          <a:xfrm>
            <a:off x="7104068" y="4244777"/>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8" name="Oval 47"/>
          <p:cNvSpPr/>
          <p:nvPr>
            <p:custDataLst>
              <p:tags r:id="rId34"/>
            </p:custDataLst>
          </p:nvPr>
        </p:nvSpPr>
        <p:spPr>
          <a:xfrm>
            <a:off x="8518062" y="4505996"/>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9" name="Oval 48"/>
          <p:cNvSpPr/>
          <p:nvPr>
            <p:custDataLst>
              <p:tags r:id="rId35"/>
            </p:custDataLst>
          </p:nvPr>
        </p:nvSpPr>
        <p:spPr>
          <a:xfrm>
            <a:off x="9297457" y="3420906"/>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50" name="Oval 49"/>
          <p:cNvSpPr/>
          <p:nvPr>
            <p:custDataLst>
              <p:tags r:id="rId36"/>
            </p:custDataLst>
          </p:nvPr>
        </p:nvSpPr>
        <p:spPr>
          <a:xfrm>
            <a:off x="11008241" y="4194724"/>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51" name="Oval 50"/>
          <p:cNvSpPr/>
          <p:nvPr>
            <p:custDataLst>
              <p:tags r:id="rId37"/>
            </p:custDataLst>
          </p:nvPr>
        </p:nvSpPr>
        <p:spPr>
          <a:xfrm>
            <a:off x="9977768" y="2027683"/>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52" name="Oval 51"/>
          <p:cNvSpPr/>
          <p:nvPr>
            <p:custDataLst>
              <p:tags r:id="rId38"/>
            </p:custDataLst>
          </p:nvPr>
        </p:nvSpPr>
        <p:spPr>
          <a:xfrm>
            <a:off x="6059057" y="2086770"/>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53" name="Oval 52"/>
          <p:cNvSpPr/>
          <p:nvPr>
            <p:custDataLst>
              <p:tags r:id="rId39"/>
            </p:custDataLst>
          </p:nvPr>
        </p:nvSpPr>
        <p:spPr>
          <a:xfrm>
            <a:off x="5214290" y="2504034"/>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cxnSp>
        <p:nvCxnSpPr>
          <p:cNvPr id="54" name="Straight Connector 53"/>
          <p:cNvCxnSpPr>
            <a:stCxn id="38" idx="0"/>
          </p:cNvCxnSpPr>
          <p:nvPr>
            <p:custDataLst>
              <p:tags r:id="rId40"/>
            </p:custDataLst>
          </p:nvPr>
        </p:nvCxnSpPr>
        <p:spPr>
          <a:xfrm flipH="1" flipV="1">
            <a:off x="766628" y="679492"/>
            <a:ext cx="444729" cy="225800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38" idx="4"/>
          </p:cNvCxnSpPr>
          <p:nvPr>
            <p:custDataLst>
              <p:tags r:id="rId41"/>
            </p:custDataLst>
          </p:nvPr>
        </p:nvCxnSpPr>
        <p:spPr>
          <a:xfrm flipH="1">
            <a:off x="719438" y="3039121"/>
            <a:ext cx="491918" cy="2182068"/>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39" idx="0"/>
            <a:endCxn id="38" idx="5"/>
          </p:cNvCxnSpPr>
          <p:nvPr>
            <p:custDataLst>
              <p:tags r:id="rId42"/>
            </p:custDataLst>
          </p:nvPr>
        </p:nvCxnSpPr>
        <p:spPr>
          <a:xfrm flipH="1" flipV="1">
            <a:off x="1247286" y="3024238"/>
            <a:ext cx="290535" cy="1323916"/>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endCxn id="40" idx="3"/>
          </p:cNvCxnSpPr>
          <p:nvPr>
            <p:custDataLst>
              <p:tags r:id="rId43"/>
            </p:custDataLst>
          </p:nvPr>
        </p:nvCxnSpPr>
        <p:spPr>
          <a:xfrm flipV="1">
            <a:off x="1576529" y="3262666"/>
            <a:ext cx="1004972" cy="1091447"/>
          </a:xfrm>
          <a:prstGeom prst="line">
            <a:avLst/>
          </a:prstGeom>
          <a:ln w="9525">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16" idx="1"/>
            <a:endCxn id="40" idx="5"/>
          </p:cNvCxnSpPr>
          <p:nvPr>
            <p:custDataLst>
              <p:tags r:id="rId44"/>
            </p:custDataLst>
          </p:nvPr>
        </p:nvCxnSpPr>
        <p:spPr>
          <a:xfrm flipH="1" flipV="1">
            <a:off x="2653361" y="3262666"/>
            <a:ext cx="391492" cy="68797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sp>
        <p:nvSpPr>
          <p:cNvPr id="59" name="Oval 58"/>
          <p:cNvSpPr/>
          <p:nvPr>
            <p:custDataLst>
              <p:tags r:id="rId45"/>
            </p:custDataLst>
          </p:nvPr>
        </p:nvSpPr>
        <p:spPr>
          <a:xfrm>
            <a:off x="2167804" y="2581192"/>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cxnSp>
        <p:nvCxnSpPr>
          <p:cNvPr id="60" name="Straight Connector 59"/>
          <p:cNvCxnSpPr>
            <a:stCxn id="40" idx="1"/>
            <a:endCxn id="59" idx="5"/>
          </p:cNvCxnSpPr>
          <p:nvPr>
            <p:custDataLst>
              <p:tags r:id="rId46"/>
            </p:custDataLst>
          </p:nvPr>
        </p:nvCxnSpPr>
        <p:spPr>
          <a:xfrm flipH="1" flipV="1">
            <a:off x="2254548" y="2667935"/>
            <a:ext cx="326953" cy="52287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59" idx="1"/>
            <a:endCxn id="8" idx="5"/>
          </p:cNvCxnSpPr>
          <p:nvPr>
            <p:custDataLst>
              <p:tags r:id="rId47"/>
            </p:custDataLst>
          </p:nvPr>
        </p:nvCxnSpPr>
        <p:spPr>
          <a:xfrm flipH="1" flipV="1">
            <a:off x="968361" y="843955"/>
            <a:ext cx="1214326" cy="175212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8" idx="6"/>
            <a:endCxn id="59" idx="2"/>
          </p:cNvCxnSpPr>
          <p:nvPr>
            <p:custDataLst>
              <p:tags r:id="rId48"/>
            </p:custDataLst>
          </p:nvPr>
        </p:nvCxnSpPr>
        <p:spPr>
          <a:xfrm flipV="1">
            <a:off x="1262169" y="2632005"/>
            <a:ext cx="905635" cy="35630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39" idx="3"/>
          </p:cNvCxnSpPr>
          <p:nvPr>
            <p:custDataLst>
              <p:tags r:id="rId49"/>
            </p:custDataLst>
          </p:nvPr>
        </p:nvCxnSpPr>
        <p:spPr>
          <a:xfrm flipH="1">
            <a:off x="782277" y="4434897"/>
            <a:ext cx="719614" cy="79751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59" idx="7"/>
            <a:endCxn id="9" idx="4"/>
          </p:cNvCxnSpPr>
          <p:nvPr>
            <p:custDataLst>
              <p:tags r:id="rId50"/>
            </p:custDataLst>
          </p:nvPr>
        </p:nvCxnSpPr>
        <p:spPr>
          <a:xfrm flipV="1">
            <a:off x="2254548" y="1952247"/>
            <a:ext cx="451445" cy="643828"/>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16" idx="7"/>
            <a:endCxn id="43" idx="4"/>
          </p:cNvCxnSpPr>
          <p:nvPr>
            <p:custDataLst>
              <p:tags r:id="rId51"/>
            </p:custDataLst>
          </p:nvPr>
        </p:nvCxnSpPr>
        <p:spPr>
          <a:xfrm flipV="1">
            <a:off x="3448322" y="2990225"/>
            <a:ext cx="353299" cy="96042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9" idx="6"/>
            <a:endCxn id="41" idx="2"/>
          </p:cNvCxnSpPr>
          <p:nvPr>
            <p:custDataLst>
              <p:tags r:id="rId52"/>
            </p:custDataLst>
          </p:nvPr>
        </p:nvCxnSpPr>
        <p:spPr>
          <a:xfrm>
            <a:off x="2991288" y="1666952"/>
            <a:ext cx="792224" cy="18772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43" idx="0"/>
            <a:endCxn id="41" idx="4"/>
          </p:cNvCxnSpPr>
          <p:nvPr>
            <p:custDataLst>
              <p:tags r:id="rId53"/>
            </p:custDataLst>
          </p:nvPr>
        </p:nvCxnSpPr>
        <p:spPr>
          <a:xfrm flipV="1">
            <a:off x="3801620" y="1905487"/>
            <a:ext cx="32705" cy="98311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41" idx="6"/>
            <a:endCxn id="42" idx="1"/>
          </p:cNvCxnSpPr>
          <p:nvPr>
            <p:custDataLst>
              <p:tags r:id="rId54"/>
            </p:custDataLst>
          </p:nvPr>
        </p:nvCxnSpPr>
        <p:spPr>
          <a:xfrm>
            <a:off x="3885139" y="1854674"/>
            <a:ext cx="442355" cy="10799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endCxn id="42" idx="4"/>
          </p:cNvCxnSpPr>
          <p:nvPr>
            <p:custDataLst>
              <p:tags r:id="rId55"/>
            </p:custDataLst>
          </p:nvPr>
        </p:nvCxnSpPr>
        <p:spPr>
          <a:xfrm flipV="1">
            <a:off x="3846286" y="2049416"/>
            <a:ext cx="517137" cy="85355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42" idx="7"/>
            <a:endCxn id="10" idx="3"/>
          </p:cNvCxnSpPr>
          <p:nvPr>
            <p:custDataLst>
              <p:tags r:id="rId56"/>
            </p:custDataLst>
          </p:nvPr>
        </p:nvCxnSpPr>
        <p:spPr>
          <a:xfrm flipV="1">
            <a:off x="4399354" y="595930"/>
            <a:ext cx="703429" cy="136674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42" idx="5"/>
            <a:endCxn id="53" idx="1"/>
          </p:cNvCxnSpPr>
          <p:nvPr>
            <p:custDataLst>
              <p:tags r:id="rId57"/>
            </p:custDataLst>
          </p:nvPr>
        </p:nvCxnSpPr>
        <p:spPr>
          <a:xfrm>
            <a:off x="4399354" y="2034534"/>
            <a:ext cx="829819" cy="48438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44" idx="0"/>
            <a:endCxn id="53" idx="3"/>
          </p:cNvCxnSpPr>
          <p:nvPr>
            <p:custDataLst>
              <p:tags r:id="rId58"/>
            </p:custDataLst>
          </p:nvPr>
        </p:nvCxnSpPr>
        <p:spPr>
          <a:xfrm flipV="1">
            <a:off x="4850909" y="2590778"/>
            <a:ext cx="378264" cy="907711"/>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endCxn id="44" idx="2"/>
          </p:cNvCxnSpPr>
          <p:nvPr>
            <p:custDataLst>
              <p:tags r:id="rId59"/>
            </p:custDataLst>
          </p:nvPr>
        </p:nvCxnSpPr>
        <p:spPr>
          <a:xfrm>
            <a:off x="3845580" y="2974250"/>
            <a:ext cx="954516" cy="57505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24" idx="1"/>
            <a:endCxn id="44" idx="5"/>
          </p:cNvCxnSpPr>
          <p:nvPr>
            <p:custDataLst>
              <p:tags r:id="rId60"/>
            </p:custDataLst>
          </p:nvPr>
        </p:nvCxnSpPr>
        <p:spPr>
          <a:xfrm flipH="1" flipV="1">
            <a:off x="4886840" y="3585233"/>
            <a:ext cx="607104" cy="335074"/>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53" idx="7"/>
            <a:endCxn id="52" idx="2"/>
          </p:cNvCxnSpPr>
          <p:nvPr>
            <p:custDataLst>
              <p:tags r:id="rId61"/>
            </p:custDataLst>
          </p:nvPr>
        </p:nvCxnSpPr>
        <p:spPr>
          <a:xfrm flipV="1">
            <a:off x="5301033" y="2137583"/>
            <a:ext cx="758024" cy="381334"/>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stCxn id="47" idx="1"/>
            <a:endCxn id="52" idx="5"/>
          </p:cNvCxnSpPr>
          <p:nvPr>
            <p:custDataLst>
              <p:tags r:id="rId62"/>
            </p:custDataLst>
          </p:nvPr>
        </p:nvCxnSpPr>
        <p:spPr>
          <a:xfrm flipH="1" flipV="1">
            <a:off x="6145801" y="2173514"/>
            <a:ext cx="973150" cy="2086145"/>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52" idx="0"/>
            <a:endCxn id="10" idx="5"/>
          </p:cNvCxnSpPr>
          <p:nvPr>
            <p:custDataLst>
              <p:tags r:id="rId63"/>
            </p:custDataLst>
          </p:nvPr>
        </p:nvCxnSpPr>
        <p:spPr>
          <a:xfrm flipH="1" flipV="1">
            <a:off x="5506250" y="595931"/>
            <a:ext cx="603620" cy="149084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endCxn id="11" idx="2"/>
          </p:cNvCxnSpPr>
          <p:nvPr>
            <p:custDataLst>
              <p:tags r:id="rId64"/>
            </p:custDataLst>
          </p:nvPr>
        </p:nvCxnSpPr>
        <p:spPr>
          <a:xfrm>
            <a:off x="6159514" y="2129309"/>
            <a:ext cx="1629019" cy="13650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45" idx="7"/>
            <a:endCxn id="24" idx="3"/>
          </p:cNvCxnSpPr>
          <p:nvPr>
            <p:custDataLst>
              <p:tags r:id="rId65"/>
            </p:custDataLst>
          </p:nvPr>
        </p:nvCxnSpPr>
        <p:spPr>
          <a:xfrm flipV="1">
            <a:off x="4934753" y="4553829"/>
            <a:ext cx="559190" cy="418008"/>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45" idx="0"/>
            <a:endCxn id="44" idx="4"/>
          </p:cNvCxnSpPr>
          <p:nvPr>
            <p:custDataLst>
              <p:tags r:id="rId66"/>
            </p:custDataLst>
          </p:nvPr>
        </p:nvCxnSpPr>
        <p:spPr>
          <a:xfrm flipH="1" flipV="1">
            <a:off x="4850909" y="3600116"/>
            <a:ext cx="47913" cy="135683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45" idx="5"/>
            <a:endCxn id="46" idx="2"/>
          </p:cNvCxnSpPr>
          <p:nvPr>
            <p:custDataLst>
              <p:tags r:id="rId67"/>
            </p:custDataLst>
          </p:nvPr>
        </p:nvCxnSpPr>
        <p:spPr>
          <a:xfrm>
            <a:off x="4934752" y="5043698"/>
            <a:ext cx="1057299" cy="40441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endCxn id="25" idx="0"/>
          </p:cNvCxnSpPr>
          <p:nvPr>
            <p:custDataLst>
              <p:tags r:id="rId68"/>
            </p:custDataLst>
          </p:nvPr>
        </p:nvCxnSpPr>
        <p:spPr>
          <a:xfrm flipH="1">
            <a:off x="4639004" y="5034195"/>
            <a:ext cx="215670" cy="1112597"/>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46" idx="6"/>
            <a:endCxn id="15" idx="2"/>
          </p:cNvCxnSpPr>
          <p:nvPr>
            <p:custDataLst>
              <p:tags r:id="rId69"/>
            </p:custDataLst>
          </p:nvPr>
        </p:nvCxnSpPr>
        <p:spPr>
          <a:xfrm>
            <a:off x="6093677" y="5448115"/>
            <a:ext cx="1466197" cy="18631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70"/>
            </p:custDataLst>
          </p:nvPr>
        </p:nvCxnSpPr>
        <p:spPr>
          <a:xfrm flipH="1" flipV="1">
            <a:off x="5991346" y="4605465"/>
            <a:ext cx="51519" cy="790426"/>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71"/>
            </p:custDataLst>
          </p:nvPr>
        </p:nvCxnSpPr>
        <p:spPr>
          <a:xfrm>
            <a:off x="7187351" y="4333196"/>
            <a:ext cx="592158" cy="1150849"/>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47" idx="2"/>
            <a:endCxn id="24" idx="6"/>
          </p:cNvCxnSpPr>
          <p:nvPr>
            <p:custDataLst>
              <p:tags r:id="rId72"/>
            </p:custDataLst>
          </p:nvPr>
        </p:nvCxnSpPr>
        <p:spPr>
          <a:xfrm flipH="1" flipV="1">
            <a:off x="6258673" y="4237068"/>
            <a:ext cx="845395" cy="5852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47" idx="7"/>
          </p:cNvCxnSpPr>
          <p:nvPr>
            <p:custDataLst>
              <p:tags r:id="rId73"/>
            </p:custDataLst>
          </p:nvPr>
        </p:nvCxnSpPr>
        <p:spPr>
          <a:xfrm flipV="1">
            <a:off x="7190812" y="2388547"/>
            <a:ext cx="851929" cy="187111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15" idx="7"/>
            <a:endCxn id="48" idx="3"/>
          </p:cNvCxnSpPr>
          <p:nvPr>
            <p:custDataLst>
              <p:tags r:id="rId74"/>
            </p:custDataLst>
          </p:nvPr>
        </p:nvCxnSpPr>
        <p:spPr>
          <a:xfrm flipV="1">
            <a:off x="8046904" y="4592739"/>
            <a:ext cx="486041" cy="839954"/>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12" idx="2"/>
            <a:endCxn id="49" idx="7"/>
          </p:cNvCxnSpPr>
          <p:nvPr>
            <p:custDataLst>
              <p:tags r:id="rId75"/>
            </p:custDataLst>
          </p:nvPr>
        </p:nvCxnSpPr>
        <p:spPr>
          <a:xfrm flipH="1">
            <a:off x="9384201" y="3222791"/>
            <a:ext cx="1057904" cy="212998"/>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49" idx="1"/>
          </p:cNvCxnSpPr>
          <p:nvPr>
            <p:custDataLst>
              <p:tags r:id="rId76"/>
            </p:custDataLst>
          </p:nvPr>
        </p:nvCxnSpPr>
        <p:spPr>
          <a:xfrm flipH="1" flipV="1">
            <a:off x="8187839" y="2273436"/>
            <a:ext cx="1124501" cy="116235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48" idx="7"/>
            <a:endCxn id="49" idx="3"/>
          </p:cNvCxnSpPr>
          <p:nvPr>
            <p:custDataLst>
              <p:tags r:id="rId77"/>
            </p:custDataLst>
          </p:nvPr>
        </p:nvCxnSpPr>
        <p:spPr>
          <a:xfrm flipV="1">
            <a:off x="8604806" y="3507649"/>
            <a:ext cx="707534" cy="101322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endCxn id="51" idx="2"/>
          </p:cNvCxnSpPr>
          <p:nvPr>
            <p:custDataLst>
              <p:tags r:id="rId78"/>
            </p:custDataLst>
          </p:nvPr>
        </p:nvCxnSpPr>
        <p:spPr>
          <a:xfrm flipV="1">
            <a:off x="8218927" y="2078496"/>
            <a:ext cx="1758842" cy="14570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50" idx="0"/>
          </p:cNvCxnSpPr>
          <p:nvPr>
            <p:custDataLst>
              <p:tags r:id="rId79"/>
            </p:custDataLst>
          </p:nvPr>
        </p:nvCxnSpPr>
        <p:spPr>
          <a:xfrm flipH="1" flipV="1">
            <a:off x="10776801" y="3324104"/>
            <a:ext cx="282253" cy="87061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14" idx="7"/>
            <a:endCxn id="50" idx="4"/>
          </p:cNvCxnSpPr>
          <p:nvPr>
            <p:custDataLst>
              <p:tags r:id="rId80"/>
            </p:custDataLst>
          </p:nvPr>
        </p:nvCxnSpPr>
        <p:spPr>
          <a:xfrm flipV="1">
            <a:off x="10423744" y="4296351"/>
            <a:ext cx="635311" cy="145333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12" idx="1"/>
            <a:endCxn id="51" idx="4"/>
          </p:cNvCxnSpPr>
          <p:nvPr>
            <p:custDataLst>
              <p:tags r:id="rId81"/>
            </p:custDataLst>
          </p:nvPr>
        </p:nvCxnSpPr>
        <p:spPr>
          <a:xfrm flipH="1" flipV="1">
            <a:off x="10028582" y="2129309"/>
            <a:ext cx="497085" cy="891747"/>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51" idx="7"/>
            <a:endCxn id="13" idx="3"/>
          </p:cNvCxnSpPr>
          <p:nvPr>
            <p:custDataLst>
              <p:tags r:id="rId82"/>
            </p:custDataLst>
          </p:nvPr>
        </p:nvCxnSpPr>
        <p:spPr>
          <a:xfrm flipV="1">
            <a:off x="10064512" y="748370"/>
            <a:ext cx="1070911" cy="1294196"/>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sp>
        <p:nvSpPr>
          <p:cNvPr id="8" name="Oval 7"/>
          <p:cNvSpPr/>
          <p:nvPr>
            <p:custDataLst>
              <p:tags r:id="rId83"/>
            </p:custDataLst>
          </p:nvPr>
        </p:nvSpPr>
        <p:spPr>
          <a:xfrm>
            <a:off x="481332" y="356926"/>
            <a:ext cx="570591" cy="570591"/>
          </a:xfrm>
          <a:prstGeom prst="ellipse">
            <a:avLst/>
          </a:prstGeom>
          <a:solidFill>
            <a:schemeClr val="accent4">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9" name="Oval 8"/>
          <p:cNvSpPr/>
          <p:nvPr>
            <p:custDataLst>
              <p:tags r:id="rId84"/>
            </p:custDataLst>
          </p:nvPr>
        </p:nvSpPr>
        <p:spPr>
          <a:xfrm>
            <a:off x="2420697" y="1381656"/>
            <a:ext cx="570591" cy="570591"/>
          </a:xfrm>
          <a:prstGeom prst="ellipse">
            <a:avLst/>
          </a:prstGeom>
          <a:solidFill>
            <a:schemeClr val="accent2">
              <a:alpha val="6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0" name="Oval 9"/>
          <p:cNvSpPr/>
          <p:nvPr>
            <p:custDataLst>
              <p:tags r:id="rId85"/>
            </p:custDataLst>
          </p:nvPr>
        </p:nvSpPr>
        <p:spPr>
          <a:xfrm>
            <a:off x="5019221" y="108901"/>
            <a:ext cx="570591" cy="570591"/>
          </a:xfrm>
          <a:prstGeom prst="ellipse">
            <a:avLst/>
          </a:prstGeom>
          <a:solidFill>
            <a:schemeClr val="accent3">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1" name="Oval 10"/>
          <p:cNvSpPr/>
          <p:nvPr>
            <p:custDataLst>
              <p:tags r:id="rId86"/>
            </p:custDataLst>
          </p:nvPr>
        </p:nvSpPr>
        <p:spPr>
          <a:xfrm>
            <a:off x="7788533" y="1980515"/>
            <a:ext cx="570591" cy="570591"/>
          </a:xfrm>
          <a:prstGeom prst="ellipse">
            <a:avLst/>
          </a:prstGeom>
          <a:solidFill>
            <a:schemeClr val="accent4">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2" name="Oval 11"/>
          <p:cNvSpPr/>
          <p:nvPr>
            <p:custDataLst>
              <p:tags r:id="rId87"/>
            </p:custDataLst>
          </p:nvPr>
        </p:nvSpPr>
        <p:spPr>
          <a:xfrm>
            <a:off x="10442105" y="2937495"/>
            <a:ext cx="570591" cy="570591"/>
          </a:xfrm>
          <a:prstGeom prst="ellipse">
            <a:avLst/>
          </a:prstGeom>
          <a:solidFill>
            <a:schemeClr val="accent3">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3" name="Oval 12"/>
          <p:cNvSpPr/>
          <p:nvPr>
            <p:custDataLst>
              <p:tags r:id="rId88"/>
            </p:custDataLst>
          </p:nvPr>
        </p:nvSpPr>
        <p:spPr>
          <a:xfrm>
            <a:off x="11051861" y="261340"/>
            <a:ext cx="570591" cy="570591"/>
          </a:xfrm>
          <a:prstGeom prst="ellipse">
            <a:avLst/>
          </a:prstGeom>
          <a:solidFill>
            <a:schemeClr val="accent5">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4" name="Oval 13"/>
          <p:cNvSpPr/>
          <p:nvPr>
            <p:custDataLst>
              <p:tags r:id="rId89"/>
            </p:custDataLst>
          </p:nvPr>
        </p:nvSpPr>
        <p:spPr>
          <a:xfrm>
            <a:off x="9936713" y="5666119"/>
            <a:ext cx="570591" cy="570591"/>
          </a:xfrm>
          <a:prstGeom prst="ellipse">
            <a:avLst/>
          </a:prstGeom>
          <a:solidFill>
            <a:schemeClr val="accent4">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5" name="Oval 14"/>
          <p:cNvSpPr/>
          <p:nvPr>
            <p:custDataLst>
              <p:tags r:id="rId90"/>
            </p:custDataLst>
          </p:nvPr>
        </p:nvSpPr>
        <p:spPr>
          <a:xfrm>
            <a:off x="7559874" y="5349132"/>
            <a:ext cx="570591" cy="570591"/>
          </a:xfrm>
          <a:prstGeom prst="ellipse">
            <a:avLst/>
          </a:prstGeom>
          <a:solidFill>
            <a:schemeClr val="accent2">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6" name="Oval 15"/>
          <p:cNvSpPr/>
          <p:nvPr>
            <p:custDataLst>
              <p:tags r:id="rId91"/>
            </p:custDataLst>
          </p:nvPr>
        </p:nvSpPr>
        <p:spPr>
          <a:xfrm>
            <a:off x="2961292" y="3867084"/>
            <a:ext cx="570591" cy="570591"/>
          </a:xfrm>
          <a:prstGeom prst="ellipse">
            <a:avLst/>
          </a:prstGeom>
          <a:solidFill>
            <a:schemeClr val="accent1">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7" name="Oval 16"/>
          <p:cNvSpPr/>
          <p:nvPr>
            <p:custDataLst>
              <p:tags r:id="rId92"/>
            </p:custDataLst>
          </p:nvPr>
        </p:nvSpPr>
        <p:spPr>
          <a:xfrm>
            <a:off x="370998" y="5034195"/>
            <a:ext cx="570591" cy="570591"/>
          </a:xfrm>
          <a:prstGeom prst="ellipse">
            <a:avLst/>
          </a:prstGeom>
          <a:solidFill>
            <a:schemeClr val="accent5">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24" name="Oval 23"/>
          <p:cNvSpPr/>
          <p:nvPr>
            <p:custDataLst>
              <p:tags r:id="rId93"/>
            </p:custDataLst>
          </p:nvPr>
        </p:nvSpPr>
        <p:spPr>
          <a:xfrm>
            <a:off x="5362736" y="3789099"/>
            <a:ext cx="895937" cy="895937"/>
          </a:xfrm>
          <a:prstGeom prst="ellipse">
            <a:avLst/>
          </a:prstGeom>
          <a:solidFill>
            <a:schemeClr val="accent6">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25" name="Oval 24"/>
          <p:cNvSpPr/>
          <p:nvPr>
            <p:custDataLst>
              <p:tags r:id="rId94"/>
            </p:custDataLst>
          </p:nvPr>
        </p:nvSpPr>
        <p:spPr>
          <a:xfrm>
            <a:off x="4332004" y="6146792"/>
            <a:ext cx="613998" cy="613998"/>
          </a:xfrm>
          <a:prstGeom prst="ellipse">
            <a:avLst/>
          </a:prstGeom>
          <a:solidFill>
            <a:schemeClr val="accent5">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12" name="Freeform 253"/>
          <p:cNvSpPr>
            <a:spLocks noEditPoints="1"/>
          </p:cNvSpPr>
          <p:nvPr>
            <p:custDataLst>
              <p:tags r:id="rId95"/>
            </p:custDataLst>
          </p:nvPr>
        </p:nvSpPr>
        <p:spPr bwMode="auto">
          <a:xfrm>
            <a:off x="584171" y="486076"/>
            <a:ext cx="361429" cy="239706"/>
          </a:xfrm>
          <a:custGeom>
            <a:avLst/>
            <a:gdLst>
              <a:gd name="T0" fmla="*/ 512 w 640"/>
              <a:gd name="T1" fmla="*/ 424 h 424"/>
              <a:gd name="T2" fmla="*/ 128 w 640"/>
              <a:gd name="T3" fmla="*/ 424 h 424"/>
              <a:gd name="T4" fmla="*/ 0 w 640"/>
              <a:gd name="T5" fmla="*/ 296 h 424"/>
              <a:gd name="T6" fmla="*/ 106 w 640"/>
              <a:gd name="T7" fmla="*/ 170 h 424"/>
              <a:gd name="T8" fmla="*/ 232 w 640"/>
              <a:gd name="T9" fmla="*/ 64 h 424"/>
              <a:gd name="T10" fmla="*/ 272 w 640"/>
              <a:gd name="T11" fmla="*/ 70 h 424"/>
              <a:gd name="T12" fmla="*/ 408 w 640"/>
              <a:gd name="T13" fmla="*/ 0 h 424"/>
              <a:gd name="T14" fmla="*/ 576 w 640"/>
              <a:gd name="T15" fmla="*/ 168 h 424"/>
              <a:gd name="T16" fmla="*/ 575 w 640"/>
              <a:gd name="T17" fmla="*/ 184 h 424"/>
              <a:gd name="T18" fmla="*/ 640 w 640"/>
              <a:gd name="T19" fmla="*/ 296 h 424"/>
              <a:gd name="T20" fmla="*/ 512 w 640"/>
              <a:gd name="T21" fmla="*/ 424 h 424"/>
              <a:gd name="T22" fmla="*/ 232 w 640"/>
              <a:gd name="T23" fmla="*/ 96 h 424"/>
              <a:gd name="T24" fmla="*/ 137 w 640"/>
              <a:gd name="T25" fmla="*/ 185 h 424"/>
              <a:gd name="T26" fmla="*/ 136 w 640"/>
              <a:gd name="T27" fmla="*/ 199 h 424"/>
              <a:gd name="T28" fmla="*/ 122 w 640"/>
              <a:gd name="T29" fmla="*/ 200 h 424"/>
              <a:gd name="T30" fmla="*/ 32 w 640"/>
              <a:gd name="T31" fmla="*/ 296 h 424"/>
              <a:gd name="T32" fmla="*/ 128 w 640"/>
              <a:gd name="T33" fmla="*/ 392 h 424"/>
              <a:gd name="T34" fmla="*/ 512 w 640"/>
              <a:gd name="T35" fmla="*/ 392 h 424"/>
              <a:gd name="T36" fmla="*/ 608 w 640"/>
              <a:gd name="T37" fmla="*/ 296 h 424"/>
              <a:gd name="T38" fmla="*/ 552 w 640"/>
              <a:gd name="T39" fmla="*/ 208 h 424"/>
              <a:gd name="T40" fmla="*/ 540 w 640"/>
              <a:gd name="T41" fmla="*/ 203 h 424"/>
              <a:gd name="T42" fmla="*/ 542 w 640"/>
              <a:gd name="T43" fmla="*/ 191 h 424"/>
              <a:gd name="T44" fmla="*/ 544 w 640"/>
              <a:gd name="T45" fmla="*/ 168 h 424"/>
              <a:gd name="T46" fmla="*/ 408 w 640"/>
              <a:gd name="T47" fmla="*/ 32 h 424"/>
              <a:gd name="T48" fmla="*/ 292 w 640"/>
              <a:gd name="T49" fmla="*/ 98 h 424"/>
              <a:gd name="T50" fmla="*/ 284 w 640"/>
              <a:gd name="T51" fmla="*/ 110 h 424"/>
              <a:gd name="T52" fmla="*/ 271 w 640"/>
              <a:gd name="T53" fmla="*/ 104 h 424"/>
              <a:gd name="T54" fmla="*/ 232 w 640"/>
              <a:gd name="T55" fmla="*/ 9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0" h="424">
                <a:moveTo>
                  <a:pt x="512" y="424"/>
                </a:moveTo>
                <a:cubicBezTo>
                  <a:pt x="128" y="424"/>
                  <a:pt x="128" y="424"/>
                  <a:pt x="128" y="424"/>
                </a:cubicBezTo>
                <a:cubicBezTo>
                  <a:pt x="58" y="424"/>
                  <a:pt x="0" y="366"/>
                  <a:pt x="0" y="296"/>
                </a:cubicBezTo>
                <a:cubicBezTo>
                  <a:pt x="0" y="233"/>
                  <a:pt x="46" y="180"/>
                  <a:pt x="106" y="170"/>
                </a:cubicBezTo>
                <a:cubicBezTo>
                  <a:pt x="117" y="109"/>
                  <a:pt x="170" y="64"/>
                  <a:pt x="232" y="64"/>
                </a:cubicBezTo>
                <a:cubicBezTo>
                  <a:pt x="246" y="64"/>
                  <a:pt x="259" y="66"/>
                  <a:pt x="272" y="70"/>
                </a:cubicBezTo>
                <a:cubicBezTo>
                  <a:pt x="303" y="26"/>
                  <a:pt x="353" y="0"/>
                  <a:pt x="408" y="0"/>
                </a:cubicBezTo>
                <a:cubicBezTo>
                  <a:pt x="501" y="0"/>
                  <a:pt x="576" y="75"/>
                  <a:pt x="576" y="168"/>
                </a:cubicBezTo>
                <a:cubicBezTo>
                  <a:pt x="576" y="173"/>
                  <a:pt x="576" y="179"/>
                  <a:pt x="575" y="184"/>
                </a:cubicBezTo>
                <a:cubicBezTo>
                  <a:pt x="615" y="207"/>
                  <a:pt x="640" y="249"/>
                  <a:pt x="640" y="296"/>
                </a:cubicBezTo>
                <a:cubicBezTo>
                  <a:pt x="640" y="366"/>
                  <a:pt x="583" y="424"/>
                  <a:pt x="512" y="424"/>
                </a:cubicBezTo>
                <a:close/>
                <a:moveTo>
                  <a:pt x="232" y="96"/>
                </a:moveTo>
                <a:cubicBezTo>
                  <a:pt x="182" y="96"/>
                  <a:pt x="140" y="135"/>
                  <a:pt x="137" y="185"/>
                </a:cubicBezTo>
                <a:cubicBezTo>
                  <a:pt x="136" y="199"/>
                  <a:pt x="136" y="199"/>
                  <a:pt x="136" y="199"/>
                </a:cubicBezTo>
                <a:cubicBezTo>
                  <a:pt x="122" y="200"/>
                  <a:pt x="122" y="200"/>
                  <a:pt x="122" y="200"/>
                </a:cubicBezTo>
                <a:cubicBezTo>
                  <a:pt x="72" y="203"/>
                  <a:pt x="32" y="245"/>
                  <a:pt x="32" y="296"/>
                </a:cubicBezTo>
                <a:cubicBezTo>
                  <a:pt x="32" y="349"/>
                  <a:pt x="75" y="392"/>
                  <a:pt x="128" y="392"/>
                </a:cubicBezTo>
                <a:cubicBezTo>
                  <a:pt x="512" y="392"/>
                  <a:pt x="512" y="392"/>
                  <a:pt x="512" y="392"/>
                </a:cubicBezTo>
                <a:cubicBezTo>
                  <a:pt x="565" y="392"/>
                  <a:pt x="608" y="349"/>
                  <a:pt x="608" y="296"/>
                </a:cubicBezTo>
                <a:cubicBezTo>
                  <a:pt x="608" y="258"/>
                  <a:pt x="586" y="224"/>
                  <a:pt x="552" y="208"/>
                </a:cubicBezTo>
                <a:cubicBezTo>
                  <a:pt x="540" y="203"/>
                  <a:pt x="540" y="203"/>
                  <a:pt x="540" y="203"/>
                </a:cubicBezTo>
                <a:cubicBezTo>
                  <a:pt x="542" y="191"/>
                  <a:pt x="542" y="191"/>
                  <a:pt x="542" y="191"/>
                </a:cubicBezTo>
                <a:cubicBezTo>
                  <a:pt x="544" y="183"/>
                  <a:pt x="544" y="175"/>
                  <a:pt x="544" y="168"/>
                </a:cubicBezTo>
                <a:cubicBezTo>
                  <a:pt x="544" y="93"/>
                  <a:pt x="483" y="32"/>
                  <a:pt x="408" y="32"/>
                </a:cubicBezTo>
                <a:cubicBezTo>
                  <a:pt x="360" y="32"/>
                  <a:pt x="317" y="56"/>
                  <a:pt x="292" y="98"/>
                </a:cubicBezTo>
                <a:cubicBezTo>
                  <a:pt x="284" y="110"/>
                  <a:pt x="284" y="110"/>
                  <a:pt x="284" y="110"/>
                </a:cubicBezTo>
                <a:cubicBezTo>
                  <a:pt x="271" y="104"/>
                  <a:pt x="271" y="104"/>
                  <a:pt x="271" y="104"/>
                </a:cubicBezTo>
                <a:cubicBezTo>
                  <a:pt x="259" y="99"/>
                  <a:pt x="246" y="96"/>
                  <a:pt x="232" y="96"/>
                </a:cubicBez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13" name="Freeform 9"/>
          <p:cNvSpPr>
            <a:spLocks noEditPoints="1"/>
          </p:cNvSpPr>
          <p:nvPr>
            <p:custDataLst>
              <p:tags r:id="rId96"/>
            </p:custDataLst>
          </p:nvPr>
        </p:nvSpPr>
        <p:spPr bwMode="auto">
          <a:xfrm>
            <a:off x="479552" y="5252946"/>
            <a:ext cx="348027" cy="156411"/>
          </a:xfrm>
          <a:custGeom>
            <a:avLst/>
            <a:gdLst>
              <a:gd name="T0" fmla="*/ 640 w 640"/>
              <a:gd name="T1" fmla="*/ 112 h 288"/>
              <a:gd name="T2" fmla="*/ 528 w 640"/>
              <a:gd name="T3" fmla="*/ 0 h 288"/>
              <a:gd name="T4" fmla="*/ 0 w 640"/>
              <a:gd name="T5" fmla="*/ 0 h 288"/>
              <a:gd name="T6" fmla="*/ 0 w 640"/>
              <a:gd name="T7" fmla="*/ 256 h 288"/>
              <a:gd name="T8" fmla="*/ 67 w 640"/>
              <a:gd name="T9" fmla="*/ 256 h 288"/>
              <a:gd name="T10" fmla="*/ 112 w 640"/>
              <a:gd name="T11" fmla="*/ 288 h 288"/>
              <a:gd name="T12" fmla="*/ 157 w 640"/>
              <a:gd name="T13" fmla="*/ 256 h 288"/>
              <a:gd name="T14" fmla="*/ 195 w 640"/>
              <a:gd name="T15" fmla="*/ 256 h 288"/>
              <a:gd name="T16" fmla="*/ 240 w 640"/>
              <a:gd name="T17" fmla="*/ 288 h 288"/>
              <a:gd name="T18" fmla="*/ 285 w 640"/>
              <a:gd name="T19" fmla="*/ 256 h 288"/>
              <a:gd name="T20" fmla="*/ 400 w 640"/>
              <a:gd name="T21" fmla="*/ 256 h 288"/>
              <a:gd name="T22" fmla="*/ 408 w 640"/>
              <a:gd name="T23" fmla="*/ 256 h 288"/>
              <a:gd name="T24" fmla="*/ 483 w 640"/>
              <a:gd name="T25" fmla="*/ 256 h 288"/>
              <a:gd name="T26" fmla="*/ 528 w 640"/>
              <a:gd name="T27" fmla="*/ 288 h 288"/>
              <a:gd name="T28" fmla="*/ 573 w 640"/>
              <a:gd name="T29" fmla="*/ 256 h 288"/>
              <a:gd name="T30" fmla="*/ 640 w 640"/>
              <a:gd name="T31" fmla="*/ 256 h 288"/>
              <a:gd name="T32" fmla="*/ 640 w 640"/>
              <a:gd name="T33" fmla="*/ 112 h 288"/>
              <a:gd name="T34" fmla="*/ 608 w 640"/>
              <a:gd name="T35" fmla="*/ 112 h 288"/>
              <a:gd name="T36" fmla="*/ 608 w 640"/>
              <a:gd name="T37" fmla="*/ 128 h 288"/>
              <a:gd name="T38" fmla="*/ 528 w 640"/>
              <a:gd name="T39" fmla="*/ 128 h 288"/>
              <a:gd name="T40" fmla="*/ 528 w 640"/>
              <a:gd name="T41" fmla="*/ 32 h 288"/>
              <a:gd name="T42" fmla="*/ 608 w 640"/>
              <a:gd name="T43" fmla="*/ 112 h 288"/>
              <a:gd name="T44" fmla="*/ 112 w 640"/>
              <a:gd name="T45" fmla="*/ 256 h 288"/>
              <a:gd name="T46" fmla="*/ 96 w 640"/>
              <a:gd name="T47" fmla="*/ 240 h 288"/>
              <a:gd name="T48" fmla="*/ 112 w 640"/>
              <a:gd name="T49" fmla="*/ 224 h 288"/>
              <a:gd name="T50" fmla="*/ 128 w 640"/>
              <a:gd name="T51" fmla="*/ 240 h 288"/>
              <a:gd name="T52" fmla="*/ 112 w 640"/>
              <a:gd name="T53" fmla="*/ 256 h 288"/>
              <a:gd name="T54" fmla="*/ 240 w 640"/>
              <a:gd name="T55" fmla="*/ 256 h 288"/>
              <a:gd name="T56" fmla="*/ 224 w 640"/>
              <a:gd name="T57" fmla="*/ 240 h 288"/>
              <a:gd name="T58" fmla="*/ 240 w 640"/>
              <a:gd name="T59" fmla="*/ 224 h 288"/>
              <a:gd name="T60" fmla="*/ 256 w 640"/>
              <a:gd name="T61" fmla="*/ 240 h 288"/>
              <a:gd name="T62" fmla="*/ 240 w 640"/>
              <a:gd name="T63" fmla="*/ 256 h 288"/>
              <a:gd name="T64" fmla="*/ 408 w 640"/>
              <a:gd name="T65" fmla="*/ 224 h 288"/>
              <a:gd name="T66" fmla="*/ 400 w 640"/>
              <a:gd name="T67" fmla="*/ 224 h 288"/>
              <a:gd name="T68" fmla="*/ 285 w 640"/>
              <a:gd name="T69" fmla="*/ 224 h 288"/>
              <a:gd name="T70" fmla="*/ 240 w 640"/>
              <a:gd name="T71" fmla="*/ 192 h 288"/>
              <a:gd name="T72" fmla="*/ 195 w 640"/>
              <a:gd name="T73" fmla="*/ 224 h 288"/>
              <a:gd name="T74" fmla="*/ 157 w 640"/>
              <a:gd name="T75" fmla="*/ 224 h 288"/>
              <a:gd name="T76" fmla="*/ 112 w 640"/>
              <a:gd name="T77" fmla="*/ 192 h 288"/>
              <a:gd name="T78" fmla="*/ 67 w 640"/>
              <a:gd name="T79" fmla="*/ 224 h 288"/>
              <a:gd name="T80" fmla="*/ 32 w 640"/>
              <a:gd name="T81" fmla="*/ 224 h 288"/>
              <a:gd name="T82" fmla="*/ 32 w 640"/>
              <a:gd name="T83" fmla="*/ 32 h 288"/>
              <a:gd name="T84" fmla="*/ 432 w 640"/>
              <a:gd name="T85" fmla="*/ 32 h 288"/>
              <a:gd name="T86" fmla="*/ 432 w 640"/>
              <a:gd name="T87" fmla="*/ 224 h 288"/>
              <a:gd name="T88" fmla="*/ 408 w 640"/>
              <a:gd name="T89" fmla="*/ 224 h 288"/>
              <a:gd name="T90" fmla="*/ 528 w 640"/>
              <a:gd name="T91" fmla="*/ 256 h 288"/>
              <a:gd name="T92" fmla="*/ 512 w 640"/>
              <a:gd name="T93" fmla="*/ 240 h 288"/>
              <a:gd name="T94" fmla="*/ 528 w 640"/>
              <a:gd name="T95" fmla="*/ 224 h 288"/>
              <a:gd name="T96" fmla="*/ 544 w 640"/>
              <a:gd name="T97" fmla="*/ 240 h 288"/>
              <a:gd name="T98" fmla="*/ 528 w 640"/>
              <a:gd name="T99" fmla="*/ 256 h 288"/>
              <a:gd name="T100" fmla="*/ 573 w 640"/>
              <a:gd name="T101" fmla="*/ 224 h 288"/>
              <a:gd name="T102" fmla="*/ 528 w 640"/>
              <a:gd name="T103" fmla="*/ 192 h 288"/>
              <a:gd name="T104" fmla="*/ 483 w 640"/>
              <a:gd name="T105" fmla="*/ 224 h 288"/>
              <a:gd name="T106" fmla="*/ 464 w 640"/>
              <a:gd name="T107" fmla="*/ 224 h 288"/>
              <a:gd name="T108" fmla="*/ 464 w 640"/>
              <a:gd name="T109" fmla="*/ 32 h 288"/>
              <a:gd name="T110" fmla="*/ 496 w 640"/>
              <a:gd name="T111" fmla="*/ 32 h 288"/>
              <a:gd name="T112" fmla="*/ 496 w 640"/>
              <a:gd name="T113" fmla="*/ 160 h 288"/>
              <a:gd name="T114" fmla="*/ 608 w 640"/>
              <a:gd name="T115" fmla="*/ 160 h 288"/>
              <a:gd name="T116" fmla="*/ 608 w 640"/>
              <a:gd name="T117" fmla="*/ 224 h 288"/>
              <a:gd name="T118" fmla="*/ 573 w 640"/>
              <a:gd name="T119" fmla="*/ 22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0" h="288">
                <a:moveTo>
                  <a:pt x="640" y="112"/>
                </a:moveTo>
                <a:cubicBezTo>
                  <a:pt x="640" y="55"/>
                  <a:pt x="584" y="0"/>
                  <a:pt x="528" y="0"/>
                </a:cubicBezTo>
                <a:cubicBezTo>
                  <a:pt x="0" y="0"/>
                  <a:pt x="0" y="0"/>
                  <a:pt x="0" y="0"/>
                </a:cubicBezTo>
                <a:cubicBezTo>
                  <a:pt x="0" y="256"/>
                  <a:pt x="0" y="256"/>
                  <a:pt x="0" y="256"/>
                </a:cubicBezTo>
                <a:cubicBezTo>
                  <a:pt x="67" y="256"/>
                  <a:pt x="67" y="256"/>
                  <a:pt x="67" y="256"/>
                </a:cubicBezTo>
                <a:cubicBezTo>
                  <a:pt x="73" y="275"/>
                  <a:pt x="91" y="288"/>
                  <a:pt x="112" y="288"/>
                </a:cubicBezTo>
                <a:cubicBezTo>
                  <a:pt x="133" y="288"/>
                  <a:pt x="150" y="275"/>
                  <a:pt x="157" y="256"/>
                </a:cubicBezTo>
                <a:cubicBezTo>
                  <a:pt x="195" y="256"/>
                  <a:pt x="195" y="256"/>
                  <a:pt x="195" y="256"/>
                </a:cubicBezTo>
                <a:cubicBezTo>
                  <a:pt x="201" y="275"/>
                  <a:pt x="219" y="288"/>
                  <a:pt x="240" y="288"/>
                </a:cubicBezTo>
                <a:cubicBezTo>
                  <a:pt x="261" y="288"/>
                  <a:pt x="278" y="275"/>
                  <a:pt x="285" y="256"/>
                </a:cubicBezTo>
                <a:cubicBezTo>
                  <a:pt x="400" y="256"/>
                  <a:pt x="400" y="256"/>
                  <a:pt x="400" y="256"/>
                </a:cubicBezTo>
                <a:cubicBezTo>
                  <a:pt x="408" y="256"/>
                  <a:pt x="408" y="256"/>
                  <a:pt x="408" y="256"/>
                </a:cubicBezTo>
                <a:cubicBezTo>
                  <a:pt x="483" y="256"/>
                  <a:pt x="483" y="256"/>
                  <a:pt x="483" y="256"/>
                </a:cubicBezTo>
                <a:cubicBezTo>
                  <a:pt x="489" y="275"/>
                  <a:pt x="507" y="288"/>
                  <a:pt x="528" y="288"/>
                </a:cubicBezTo>
                <a:cubicBezTo>
                  <a:pt x="549" y="288"/>
                  <a:pt x="566" y="275"/>
                  <a:pt x="573" y="256"/>
                </a:cubicBezTo>
                <a:cubicBezTo>
                  <a:pt x="640" y="256"/>
                  <a:pt x="640" y="256"/>
                  <a:pt x="640" y="256"/>
                </a:cubicBezTo>
                <a:lnTo>
                  <a:pt x="640" y="112"/>
                </a:lnTo>
                <a:close/>
                <a:moveTo>
                  <a:pt x="608" y="112"/>
                </a:moveTo>
                <a:cubicBezTo>
                  <a:pt x="608" y="128"/>
                  <a:pt x="608" y="128"/>
                  <a:pt x="608" y="128"/>
                </a:cubicBezTo>
                <a:cubicBezTo>
                  <a:pt x="528" y="128"/>
                  <a:pt x="528" y="128"/>
                  <a:pt x="528" y="128"/>
                </a:cubicBezTo>
                <a:cubicBezTo>
                  <a:pt x="528" y="32"/>
                  <a:pt x="528" y="32"/>
                  <a:pt x="528" y="32"/>
                </a:cubicBezTo>
                <a:cubicBezTo>
                  <a:pt x="567" y="32"/>
                  <a:pt x="608" y="73"/>
                  <a:pt x="608" y="112"/>
                </a:cubicBezTo>
                <a:close/>
                <a:moveTo>
                  <a:pt x="112" y="256"/>
                </a:moveTo>
                <a:cubicBezTo>
                  <a:pt x="103" y="256"/>
                  <a:pt x="96" y="249"/>
                  <a:pt x="96" y="240"/>
                </a:cubicBezTo>
                <a:cubicBezTo>
                  <a:pt x="96" y="231"/>
                  <a:pt x="103" y="224"/>
                  <a:pt x="112" y="224"/>
                </a:cubicBezTo>
                <a:cubicBezTo>
                  <a:pt x="121" y="224"/>
                  <a:pt x="128" y="231"/>
                  <a:pt x="128" y="240"/>
                </a:cubicBezTo>
                <a:cubicBezTo>
                  <a:pt x="128" y="249"/>
                  <a:pt x="121" y="256"/>
                  <a:pt x="112" y="256"/>
                </a:cubicBezTo>
                <a:close/>
                <a:moveTo>
                  <a:pt x="240" y="256"/>
                </a:moveTo>
                <a:cubicBezTo>
                  <a:pt x="231" y="256"/>
                  <a:pt x="224" y="249"/>
                  <a:pt x="224" y="240"/>
                </a:cubicBezTo>
                <a:cubicBezTo>
                  <a:pt x="224" y="231"/>
                  <a:pt x="231" y="224"/>
                  <a:pt x="240" y="224"/>
                </a:cubicBezTo>
                <a:cubicBezTo>
                  <a:pt x="249" y="224"/>
                  <a:pt x="256" y="231"/>
                  <a:pt x="256" y="240"/>
                </a:cubicBezTo>
                <a:cubicBezTo>
                  <a:pt x="256" y="249"/>
                  <a:pt x="249" y="256"/>
                  <a:pt x="240" y="256"/>
                </a:cubicBezTo>
                <a:close/>
                <a:moveTo>
                  <a:pt x="408" y="224"/>
                </a:moveTo>
                <a:cubicBezTo>
                  <a:pt x="400" y="224"/>
                  <a:pt x="400" y="224"/>
                  <a:pt x="400" y="224"/>
                </a:cubicBezTo>
                <a:cubicBezTo>
                  <a:pt x="285" y="224"/>
                  <a:pt x="285" y="224"/>
                  <a:pt x="285" y="224"/>
                </a:cubicBezTo>
                <a:cubicBezTo>
                  <a:pt x="278" y="205"/>
                  <a:pt x="261" y="192"/>
                  <a:pt x="240" y="192"/>
                </a:cubicBezTo>
                <a:cubicBezTo>
                  <a:pt x="219" y="192"/>
                  <a:pt x="201" y="205"/>
                  <a:pt x="195" y="224"/>
                </a:cubicBezTo>
                <a:cubicBezTo>
                  <a:pt x="157" y="224"/>
                  <a:pt x="157" y="224"/>
                  <a:pt x="157" y="224"/>
                </a:cubicBezTo>
                <a:cubicBezTo>
                  <a:pt x="150" y="205"/>
                  <a:pt x="133" y="192"/>
                  <a:pt x="112" y="192"/>
                </a:cubicBezTo>
                <a:cubicBezTo>
                  <a:pt x="91" y="192"/>
                  <a:pt x="73" y="205"/>
                  <a:pt x="67" y="224"/>
                </a:cubicBezTo>
                <a:cubicBezTo>
                  <a:pt x="32" y="224"/>
                  <a:pt x="32" y="224"/>
                  <a:pt x="32" y="224"/>
                </a:cubicBezTo>
                <a:cubicBezTo>
                  <a:pt x="32" y="32"/>
                  <a:pt x="32" y="32"/>
                  <a:pt x="32" y="32"/>
                </a:cubicBezTo>
                <a:cubicBezTo>
                  <a:pt x="432" y="32"/>
                  <a:pt x="432" y="32"/>
                  <a:pt x="432" y="32"/>
                </a:cubicBezTo>
                <a:cubicBezTo>
                  <a:pt x="432" y="224"/>
                  <a:pt x="432" y="224"/>
                  <a:pt x="432" y="224"/>
                </a:cubicBezTo>
                <a:lnTo>
                  <a:pt x="408" y="224"/>
                </a:lnTo>
                <a:close/>
                <a:moveTo>
                  <a:pt x="528" y="256"/>
                </a:moveTo>
                <a:cubicBezTo>
                  <a:pt x="519" y="256"/>
                  <a:pt x="512" y="249"/>
                  <a:pt x="512" y="240"/>
                </a:cubicBezTo>
                <a:cubicBezTo>
                  <a:pt x="512" y="231"/>
                  <a:pt x="519" y="224"/>
                  <a:pt x="528" y="224"/>
                </a:cubicBezTo>
                <a:cubicBezTo>
                  <a:pt x="537" y="224"/>
                  <a:pt x="544" y="231"/>
                  <a:pt x="544" y="240"/>
                </a:cubicBezTo>
                <a:cubicBezTo>
                  <a:pt x="544" y="249"/>
                  <a:pt x="537" y="256"/>
                  <a:pt x="528" y="256"/>
                </a:cubicBezTo>
                <a:close/>
                <a:moveTo>
                  <a:pt x="573" y="224"/>
                </a:moveTo>
                <a:cubicBezTo>
                  <a:pt x="566" y="205"/>
                  <a:pt x="549" y="192"/>
                  <a:pt x="528" y="192"/>
                </a:cubicBezTo>
                <a:cubicBezTo>
                  <a:pt x="507" y="192"/>
                  <a:pt x="489" y="205"/>
                  <a:pt x="483" y="224"/>
                </a:cubicBezTo>
                <a:cubicBezTo>
                  <a:pt x="464" y="224"/>
                  <a:pt x="464" y="224"/>
                  <a:pt x="464" y="224"/>
                </a:cubicBezTo>
                <a:cubicBezTo>
                  <a:pt x="464" y="32"/>
                  <a:pt x="464" y="32"/>
                  <a:pt x="464" y="32"/>
                </a:cubicBezTo>
                <a:cubicBezTo>
                  <a:pt x="496" y="32"/>
                  <a:pt x="496" y="32"/>
                  <a:pt x="496" y="32"/>
                </a:cubicBezTo>
                <a:cubicBezTo>
                  <a:pt x="496" y="160"/>
                  <a:pt x="496" y="160"/>
                  <a:pt x="496" y="160"/>
                </a:cubicBezTo>
                <a:cubicBezTo>
                  <a:pt x="608" y="160"/>
                  <a:pt x="608" y="160"/>
                  <a:pt x="608" y="160"/>
                </a:cubicBezTo>
                <a:cubicBezTo>
                  <a:pt x="608" y="224"/>
                  <a:pt x="608" y="224"/>
                  <a:pt x="608" y="224"/>
                </a:cubicBezTo>
                <a:lnTo>
                  <a:pt x="573" y="224"/>
                </a:ln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nvGrpSpPr>
          <p:cNvPr id="117" name="Group 116"/>
          <p:cNvGrpSpPr>
            <a:grpSpLocks noChangeAspect="1"/>
          </p:cNvGrpSpPr>
          <p:nvPr/>
        </p:nvGrpSpPr>
        <p:grpSpPr>
          <a:xfrm>
            <a:off x="5593719" y="4044091"/>
            <a:ext cx="466560" cy="410483"/>
            <a:chOff x="4862473" y="2952883"/>
            <a:chExt cx="485738" cy="427356"/>
          </a:xfrm>
          <a:solidFill>
            <a:schemeClr val="bg1"/>
          </a:solidFill>
        </p:grpSpPr>
        <p:sp>
          <p:nvSpPr>
            <p:cNvPr id="118" name="Line 182"/>
            <p:cNvSpPr>
              <a:spLocks noChangeShapeType="1"/>
            </p:cNvSpPr>
            <p:nvPr>
              <p:custDataLst>
                <p:tags r:id="rId118"/>
              </p:custDataLst>
            </p:nvPr>
          </p:nvSpPr>
          <p:spPr bwMode="auto">
            <a:xfrm>
              <a:off x="4983907" y="3144375"/>
              <a:ext cx="0" cy="0"/>
            </a:xfrm>
            <a:prstGeom prst="line">
              <a:avLst/>
            </a:prstGeom>
            <a:grpFill/>
            <a:ln w="69850" cap="flat">
              <a:solidFill>
                <a:srgbClr val="000000"/>
              </a:solidFill>
              <a:prstDash val="solid"/>
              <a:miter lim="800000"/>
              <a:headEnd/>
              <a:tailEnd/>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19" name="Freeform 183"/>
            <p:cNvSpPr>
              <a:spLocks noEditPoints="1"/>
            </p:cNvSpPr>
            <p:nvPr>
              <p:custDataLst>
                <p:tags r:id="rId119"/>
              </p:custDataLst>
            </p:nvPr>
          </p:nvSpPr>
          <p:spPr bwMode="auto">
            <a:xfrm>
              <a:off x="4862473" y="2952883"/>
              <a:ext cx="485738" cy="427356"/>
            </a:xfrm>
            <a:custGeom>
              <a:avLst/>
              <a:gdLst>
                <a:gd name="T0" fmla="*/ 153 w 153"/>
                <a:gd name="T1" fmla="*/ 0 h 134"/>
                <a:gd name="T2" fmla="*/ 115 w 153"/>
                <a:gd name="T3" fmla="*/ 0 h 134"/>
                <a:gd name="T4" fmla="*/ 115 w 153"/>
                <a:gd name="T5" fmla="*/ 4 h 134"/>
                <a:gd name="T6" fmla="*/ 66 w 153"/>
                <a:gd name="T7" fmla="*/ 4 h 134"/>
                <a:gd name="T8" fmla="*/ 20 w 153"/>
                <a:gd name="T9" fmla="*/ 23 h 134"/>
                <a:gd name="T10" fmla="*/ 0 w 153"/>
                <a:gd name="T11" fmla="*/ 69 h 134"/>
                <a:gd name="T12" fmla="*/ 65 w 153"/>
                <a:gd name="T13" fmla="*/ 134 h 134"/>
                <a:gd name="T14" fmla="*/ 130 w 153"/>
                <a:gd name="T15" fmla="*/ 69 h 134"/>
                <a:gd name="T16" fmla="*/ 129 w 153"/>
                <a:gd name="T17" fmla="*/ 58 h 134"/>
                <a:gd name="T18" fmla="*/ 153 w 153"/>
                <a:gd name="T19" fmla="*/ 58 h 134"/>
                <a:gd name="T20" fmla="*/ 153 w 153"/>
                <a:gd name="T21" fmla="*/ 0 h 134"/>
                <a:gd name="T22" fmla="*/ 123 w 153"/>
                <a:gd name="T23" fmla="*/ 69 h 134"/>
                <a:gd name="T24" fmla="*/ 65 w 153"/>
                <a:gd name="T25" fmla="*/ 127 h 134"/>
                <a:gd name="T26" fmla="*/ 7 w 153"/>
                <a:gd name="T27" fmla="*/ 69 h 134"/>
                <a:gd name="T28" fmla="*/ 25 w 153"/>
                <a:gd name="T29" fmla="*/ 29 h 134"/>
                <a:gd name="T30" fmla="*/ 66 w 153"/>
                <a:gd name="T31" fmla="*/ 12 h 134"/>
                <a:gd name="T32" fmla="*/ 115 w 153"/>
                <a:gd name="T33" fmla="*/ 12 h 134"/>
                <a:gd name="T34" fmla="*/ 115 w 153"/>
                <a:gd name="T35" fmla="*/ 46 h 134"/>
                <a:gd name="T36" fmla="*/ 85 w 153"/>
                <a:gd name="T37" fmla="*/ 46 h 134"/>
                <a:gd name="T38" fmla="*/ 65 w 153"/>
                <a:gd name="T39" fmla="*/ 38 h 134"/>
                <a:gd name="T40" fmla="*/ 34 w 153"/>
                <a:gd name="T41" fmla="*/ 69 h 134"/>
                <a:gd name="T42" fmla="*/ 65 w 153"/>
                <a:gd name="T43" fmla="*/ 100 h 134"/>
                <a:gd name="T44" fmla="*/ 96 w 153"/>
                <a:gd name="T45" fmla="*/ 69 h 134"/>
                <a:gd name="T46" fmla="*/ 92 w 153"/>
                <a:gd name="T47" fmla="*/ 54 h 134"/>
                <a:gd name="T48" fmla="*/ 115 w 153"/>
                <a:gd name="T49" fmla="*/ 54 h 134"/>
                <a:gd name="T50" fmla="*/ 115 w 153"/>
                <a:gd name="T51" fmla="*/ 58 h 134"/>
                <a:gd name="T52" fmla="*/ 122 w 153"/>
                <a:gd name="T53" fmla="*/ 58 h 134"/>
                <a:gd name="T54" fmla="*/ 123 w 153"/>
                <a:gd name="T55" fmla="*/ 69 h 134"/>
                <a:gd name="T56" fmla="*/ 73 w 153"/>
                <a:gd name="T57" fmla="*/ 69 h 134"/>
                <a:gd name="T58" fmla="*/ 87 w 153"/>
                <a:gd name="T59" fmla="*/ 61 h 134"/>
                <a:gd name="T60" fmla="*/ 88 w 153"/>
                <a:gd name="T61" fmla="*/ 69 h 134"/>
                <a:gd name="T62" fmla="*/ 87 w 153"/>
                <a:gd name="T63" fmla="*/ 77 h 134"/>
                <a:gd name="T64" fmla="*/ 73 w 153"/>
                <a:gd name="T65" fmla="*/ 69 h 134"/>
                <a:gd name="T66" fmla="*/ 83 w 153"/>
                <a:gd name="T67" fmla="*/ 84 h 134"/>
                <a:gd name="T68" fmla="*/ 69 w 153"/>
                <a:gd name="T69" fmla="*/ 92 h 134"/>
                <a:gd name="T70" fmla="*/ 69 w 153"/>
                <a:gd name="T71" fmla="*/ 76 h 134"/>
                <a:gd name="T72" fmla="*/ 83 w 153"/>
                <a:gd name="T73" fmla="*/ 84 h 134"/>
                <a:gd name="T74" fmla="*/ 69 w 153"/>
                <a:gd name="T75" fmla="*/ 63 h 134"/>
                <a:gd name="T76" fmla="*/ 69 w 153"/>
                <a:gd name="T77" fmla="*/ 46 h 134"/>
                <a:gd name="T78" fmla="*/ 83 w 153"/>
                <a:gd name="T79" fmla="*/ 55 h 134"/>
                <a:gd name="T80" fmla="*/ 69 w 153"/>
                <a:gd name="T81" fmla="*/ 63 h 134"/>
                <a:gd name="T82" fmla="*/ 61 w 153"/>
                <a:gd name="T83" fmla="*/ 76 h 134"/>
                <a:gd name="T84" fmla="*/ 61 w 153"/>
                <a:gd name="T85" fmla="*/ 92 h 134"/>
                <a:gd name="T86" fmla="*/ 47 w 153"/>
                <a:gd name="T87" fmla="*/ 84 h 134"/>
                <a:gd name="T88" fmla="*/ 61 w 153"/>
                <a:gd name="T89" fmla="*/ 76 h 134"/>
                <a:gd name="T90" fmla="*/ 43 w 153"/>
                <a:gd name="T91" fmla="*/ 77 h 134"/>
                <a:gd name="T92" fmla="*/ 42 w 153"/>
                <a:gd name="T93" fmla="*/ 69 h 134"/>
                <a:gd name="T94" fmla="*/ 43 w 153"/>
                <a:gd name="T95" fmla="*/ 61 h 134"/>
                <a:gd name="T96" fmla="*/ 57 w 153"/>
                <a:gd name="T97" fmla="*/ 69 h 134"/>
                <a:gd name="T98" fmla="*/ 43 w 153"/>
                <a:gd name="T99" fmla="*/ 77 h 134"/>
                <a:gd name="T100" fmla="*/ 47 w 153"/>
                <a:gd name="T101" fmla="*/ 55 h 134"/>
                <a:gd name="T102" fmla="*/ 61 w 153"/>
                <a:gd name="T103" fmla="*/ 46 h 134"/>
                <a:gd name="T104" fmla="*/ 61 w 153"/>
                <a:gd name="T105" fmla="*/ 63 h 134"/>
                <a:gd name="T106" fmla="*/ 47 w 153"/>
                <a:gd name="T107" fmla="*/ 55 h 134"/>
                <a:gd name="T108" fmla="*/ 146 w 153"/>
                <a:gd name="T109" fmla="*/ 50 h 134"/>
                <a:gd name="T110" fmla="*/ 123 w 153"/>
                <a:gd name="T111" fmla="*/ 50 h 134"/>
                <a:gd name="T112" fmla="*/ 123 w 153"/>
                <a:gd name="T113" fmla="*/ 8 h 134"/>
                <a:gd name="T114" fmla="*/ 146 w 153"/>
                <a:gd name="T115" fmla="*/ 8 h 134"/>
                <a:gd name="T116" fmla="*/ 146 w 153"/>
                <a:gd name="T117" fmla="*/ 5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 h="134">
                  <a:moveTo>
                    <a:pt x="153" y="0"/>
                  </a:moveTo>
                  <a:cubicBezTo>
                    <a:pt x="115" y="0"/>
                    <a:pt x="115" y="0"/>
                    <a:pt x="115" y="0"/>
                  </a:cubicBezTo>
                  <a:cubicBezTo>
                    <a:pt x="115" y="4"/>
                    <a:pt x="115" y="4"/>
                    <a:pt x="115" y="4"/>
                  </a:cubicBezTo>
                  <a:cubicBezTo>
                    <a:pt x="66" y="4"/>
                    <a:pt x="66" y="4"/>
                    <a:pt x="66" y="4"/>
                  </a:cubicBezTo>
                  <a:cubicBezTo>
                    <a:pt x="49" y="4"/>
                    <a:pt x="32" y="11"/>
                    <a:pt x="20" y="23"/>
                  </a:cubicBezTo>
                  <a:cubicBezTo>
                    <a:pt x="7" y="36"/>
                    <a:pt x="0" y="52"/>
                    <a:pt x="0" y="69"/>
                  </a:cubicBezTo>
                  <a:cubicBezTo>
                    <a:pt x="0" y="105"/>
                    <a:pt x="29" y="134"/>
                    <a:pt x="65" y="134"/>
                  </a:cubicBezTo>
                  <a:cubicBezTo>
                    <a:pt x="101" y="134"/>
                    <a:pt x="130" y="105"/>
                    <a:pt x="130" y="69"/>
                  </a:cubicBezTo>
                  <a:cubicBezTo>
                    <a:pt x="130" y="65"/>
                    <a:pt x="130" y="61"/>
                    <a:pt x="129" y="58"/>
                  </a:cubicBezTo>
                  <a:cubicBezTo>
                    <a:pt x="153" y="58"/>
                    <a:pt x="153" y="58"/>
                    <a:pt x="153" y="58"/>
                  </a:cubicBezTo>
                  <a:lnTo>
                    <a:pt x="153" y="0"/>
                  </a:lnTo>
                  <a:close/>
                  <a:moveTo>
                    <a:pt x="123" y="69"/>
                  </a:moveTo>
                  <a:cubicBezTo>
                    <a:pt x="123" y="101"/>
                    <a:pt x="97" y="127"/>
                    <a:pt x="65" y="127"/>
                  </a:cubicBezTo>
                  <a:cubicBezTo>
                    <a:pt x="33" y="127"/>
                    <a:pt x="7" y="101"/>
                    <a:pt x="7" y="69"/>
                  </a:cubicBezTo>
                  <a:cubicBezTo>
                    <a:pt x="7" y="54"/>
                    <a:pt x="14" y="40"/>
                    <a:pt x="25" y="29"/>
                  </a:cubicBezTo>
                  <a:cubicBezTo>
                    <a:pt x="36" y="18"/>
                    <a:pt x="51" y="12"/>
                    <a:pt x="66" y="12"/>
                  </a:cubicBezTo>
                  <a:cubicBezTo>
                    <a:pt x="115" y="12"/>
                    <a:pt x="115" y="12"/>
                    <a:pt x="115" y="12"/>
                  </a:cubicBezTo>
                  <a:cubicBezTo>
                    <a:pt x="115" y="46"/>
                    <a:pt x="115" y="46"/>
                    <a:pt x="115" y="46"/>
                  </a:cubicBezTo>
                  <a:cubicBezTo>
                    <a:pt x="85" y="46"/>
                    <a:pt x="85" y="46"/>
                    <a:pt x="85" y="46"/>
                  </a:cubicBezTo>
                  <a:cubicBezTo>
                    <a:pt x="80" y="41"/>
                    <a:pt x="73" y="38"/>
                    <a:pt x="65" y="38"/>
                  </a:cubicBezTo>
                  <a:cubicBezTo>
                    <a:pt x="48" y="38"/>
                    <a:pt x="34" y="52"/>
                    <a:pt x="34" y="69"/>
                  </a:cubicBezTo>
                  <a:cubicBezTo>
                    <a:pt x="34" y="86"/>
                    <a:pt x="48" y="100"/>
                    <a:pt x="65" y="100"/>
                  </a:cubicBezTo>
                  <a:cubicBezTo>
                    <a:pt x="82" y="100"/>
                    <a:pt x="96" y="86"/>
                    <a:pt x="96" y="69"/>
                  </a:cubicBezTo>
                  <a:cubicBezTo>
                    <a:pt x="96" y="64"/>
                    <a:pt x="94" y="58"/>
                    <a:pt x="92" y="54"/>
                  </a:cubicBezTo>
                  <a:cubicBezTo>
                    <a:pt x="115" y="54"/>
                    <a:pt x="115" y="54"/>
                    <a:pt x="115" y="54"/>
                  </a:cubicBezTo>
                  <a:cubicBezTo>
                    <a:pt x="115" y="58"/>
                    <a:pt x="115" y="58"/>
                    <a:pt x="115" y="58"/>
                  </a:cubicBezTo>
                  <a:cubicBezTo>
                    <a:pt x="122" y="58"/>
                    <a:pt x="122" y="58"/>
                    <a:pt x="122" y="58"/>
                  </a:cubicBezTo>
                  <a:cubicBezTo>
                    <a:pt x="122" y="61"/>
                    <a:pt x="123" y="65"/>
                    <a:pt x="123" y="69"/>
                  </a:cubicBezTo>
                  <a:close/>
                  <a:moveTo>
                    <a:pt x="73" y="69"/>
                  </a:moveTo>
                  <a:cubicBezTo>
                    <a:pt x="87" y="61"/>
                    <a:pt x="87" y="61"/>
                    <a:pt x="87" y="61"/>
                  </a:cubicBezTo>
                  <a:cubicBezTo>
                    <a:pt x="88" y="64"/>
                    <a:pt x="88" y="66"/>
                    <a:pt x="88" y="69"/>
                  </a:cubicBezTo>
                  <a:cubicBezTo>
                    <a:pt x="88" y="72"/>
                    <a:pt x="88" y="75"/>
                    <a:pt x="87" y="77"/>
                  </a:cubicBezTo>
                  <a:lnTo>
                    <a:pt x="73" y="69"/>
                  </a:lnTo>
                  <a:close/>
                  <a:moveTo>
                    <a:pt x="83" y="84"/>
                  </a:moveTo>
                  <a:cubicBezTo>
                    <a:pt x="79" y="88"/>
                    <a:pt x="74" y="91"/>
                    <a:pt x="69" y="92"/>
                  </a:cubicBezTo>
                  <a:cubicBezTo>
                    <a:pt x="69" y="76"/>
                    <a:pt x="69" y="76"/>
                    <a:pt x="69" y="76"/>
                  </a:cubicBezTo>
                  <a:lnTo>
                    <a:pt x="83" y="84"/>
                  </a:lnTo>
                  <a:close/>
                  <a:moveTo>
                    <a:pt x="69" y="63"/>
                  </a:moveTo>
                  <a:cubicBezTo>
                    <a:pt x="69" y="46"/>
                    <a:pt x="69" y="46"/>
                    <a:pt x="69" y="46"/>
                  </a:cubicBezTo>
                  <a:cubicBezTo>
                    <a:pt x="74" y="47"/>
                    <a:pt x="79" y="50"/>
                    <a:pt x="83" y="55"/>
                  </a:cubicBezTo>
                  <a:lnTo>
                    <a:pt x="69" y="63"/>
                  </a:lnTo>
                  <a:close/>
                  <a:moveTo>
                    <a:pt x="61" y="76"/>
                  </a:moveTo>
                  <a:cubicBezTo>
                    <a:pt x="61" y="92"/>
                    <a:pt x="61" y="92"/>
                    <a:pt x="61" y="92"/>
                  </a:cubicBezTo>
                  <a:cubicBezTo>
                    <a:pt x="56" y="91"/>
                    <a:pt x="51" y="88"/>
                    <a:pt x="47" y="84"/>
                  </a:cubicBezTo>
                  <a:lnTo>
                    <a:pt x="61" y="76"/>
                  </a:lnTo>
                  <a:close/>
                  <a:moveTo>
                    <a:pt x="43" y="77"/>
                  </a:moveTo>
                  <a:cubicBezTo>
                    <a:pt x="43" y="75"/>
                    <a:pt x="42" y="72"/>
                    <a:pt x="42" y="69"/>
                  </a:cubicBezTo>
                  <a:cubicBezTo>
                    <a:pt x="42" y="66"/>
                    <a:pt x="43" y="64"/>
                    <a:pt x="43" y="61"/>
                  </a:cubicBezTo>
                  <a:cubicBezTo>
                    <a:pt x="57" y="69"/>
                    <a:pt x="57" y="69"/>
                    <a:pt x="57" y="69"/>
                  </a:cubicBezTo>
                  <a:lnTo>
                    <a:pt x="43" y="77"/>
                  </a:lnTo>
                  <a:close/>
                  <a:moveTo>
                    <a:pt x="47" y="55"/>
                  </a:moveTo>
                  <a:cubicBezTo>
                    <a:pt x="51" y="50"/>
                    <a:pt x="56" y="47"/>
                    <a:pt x="61" y="46"/>
                  </a:cubicBezTo>
                  <a:cubicBezTo>
                    <a:pt x="61" y="63"/>
                    <a:pt x="61" y="63"/>
                    <a:pt x="61" y="63"/>
                  </a:cubicBezTo>
                  <a:lnTo>
                    <a:pt x="47" y="55"/>
                  </a:lnTo>
                  <a:close/>
                  <a:moveTo>
                    <a:pt x="146" y="50"/>
                  </a:moveTo>
                  <a:cubicBezTo>
                    <a:pt x="123" y="50"/>
                    <a:pt x="123" y="50"/>
                    <a:pt x="123" y="50"/>
                  </a:cubicBezTo>
                  <a:cubicBezTo>
                    <a:pt x="123" y="8"/>
                    <a:pt x="123" y="8"/>
                    <a:pt x="123" y="8"/>
                  </a:cubicBezTo>
                  <a:cubicBezTo>
                    <a:pt x="146" y="8"/>
                    <a:pt x="146" y="8"/>
                    <a:pt x="146" y="8"/>
                  </a:cubicBezTo>
                  <a:lnTo>
                    <a:pt x="146"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0" name="Line 184"/>
            <p:cNvSpPr>
              <a:spLocks noChangeShapeType="1"/>
            </p:cNvSpPr>
            <p:nvPr>
              <p:custDataLst>
                <p:tags r:id="rId120"/>
              </p:custDataLst>
            </p:nvPr>
          </p:nvSpPr>
          <p:spPr bwMode="auto">
            <a:xfrm>
              <a:off x="5128695" y="3233116"/>
              <a:ext cx="0" cy="0"/>
            </a:xfrm>
            <a:prstGeom prst="line">
              <a:avLst/>
            </a:prstGeom>
            <a:grpFill/>
            <a:ln w="69850" cap="flat">
              <a:solidFill>
                <a:srgbClr val="000000"/>
              </a:solidFill>
              <a:prstDash val="solid"/>
              <a:miter lim="800000"/>
              <a:headEnd/>
              <a:tailEnd/>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1" name="Line 185"/>
            <p:cNvSpPr>
              <a:spLocks noChangeShapeType="1"/>
            </p:cNvSpPr>
            <p:nvPr>
              <p:custDataLst>
                <p:tags r:id="rId121"/>
              </p:custDataLst>
            </p:nvPr>
          </p:nvSpPr>
          <p:spPr bwMode="auto">
            <a:xfrm>
              <a:off x="5009596" y="3111681"/>
              <a:ext cx="0" cy="0"/>
            </a:xfrm>
            <a:prstGeom prst="line">
              <a:avLst/>
            </a:prstGeom>
            <a:grpFill/>
            <a:ln w="69850" cap="flat">
              <a:solidFill>
                <a:srgbClr val="000000"/>
              </a:solidFill>
              <a:prstDash val="solid"/>
              <a:miter lim="800000"/>
              <a:headEnd/>
              <a:tailEnd/>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grpSp>
        <p:nvGrpSpPr>
          <p:cNvPr id="122" name="Group 121"/>
          <p:cNvGrpSpPr/>
          <p:nvPr/>
        </p:nvGrpSpPr>
        <p:grpSpPr>
          <a:xfrm>
            <a:off x="2596875" y="1469973"/>
            <a:ext cx="230819" cy="384701"/>
            <a:chOff x="3595688" y="4976813"/>
            <a:chExt cx="828675" cy="1381125"/>
          </a:xfrm>
          <a:solidFill>
            <a:schemeClr val="bg1"/>
          </a:solidFill>
        </p:grpSpPr>
        <p:sp>
          <p:nvSpPr>
            <p:cNvPr id="123" name="Freeform 85"/>
            <p:cNvSpPr>
              <a:spLocks noEditPoints="1"/>
            </p:cNvSpPr>
            <p:nvPr>
              <p:custDataLst>
                <p:tags r:id="rId115"/>
              </p:custDataLst>
            </p:nvPr>
          </p:nvSpPr>
          <p:spPr bwMode="auto">
            <a:xfrm>
              <a:off x="3595688" y="4976813"/>
              <a:ext cx="828675" cy="1381125"/>
            </a:xfrm>
            <a:custGeom>
              <a:avLst/>
              <a:gdLst>
                <a:gd name="T0" fmla="*/ 336 w 384"/>
                <a:gd name="T1" fmla="*/ 0 h 640"/>
                <a:gd name="T2" fmla="*/ 48 w 384"/>
                <a:gd name="T3" fmla="*/ 0 h 640"/>
                <a:gd name="T4" fmla="*/ 0 w 384"/>
                <a:gd name="T5" fmla="*/ 48 h 640"/>
                <a:gd name="T6" fmla="*/ 0 w 384"/>
                <a:gd name="T7" fmla="*/ 592 h 640"/>
                <a:gd name="T8" fmla="*/ 48 w 384"/>
                <a:gd name="T9" fmla="*/ 640 h 640"/>
                <a:gd name="T10" fmla="*/ 336 w 384"/>
                <a:gd name="T11" fmla="*/ 640 h 640"/>
                <a:gd name="T12" fmla="*/ 384 w 384"/>
                <a:gd name="T13" fmla="*/ 592 h 640"/>
                <a:gd name="T14" fmla="*/ 384 w 384"/>
                <a:gd name="T15" fmla="*/ 48 h 640"/>
                <a:gd name="T16" fmla="*/ 336 w 384"/>
                <a:gd name="T17" fmla="*/ 0 h 640"/>
                <a:gd name="T18" fmla="*/ 352 w 384"/>
                <a:gd name="T19" fmla="*/ 592 h 640"/>
                <a:gd name="T20" fmla="*/ 336 w 384"/>
                <a:gd name="T21" fmla="*/ 608 h 640"/>
                <a:gd name="T22" fmla="*/ 48 w 384"/>
                <a:gd name="T23" fmla="*/ 608 h 640"/>
                <a:gd name="T24" fmla="*/ 32 w 384"/>
                <a:gd name="T25" fmla="*/ 592 h 640"/>
                <a:gd name="T26" fmla="*/ 32 w 384"/>
                <a:gd name="T27" fmla="*/ 48 h 640"/>
                <a:gd name="T28" fmla="*/ 48 w 384"/>
                <a:gd name="T29" fmla="*/ 32 h 640"/>
                <a:gd name="T30" fmla="*/ 336 w 384"/>
                <a:gd name="T31" fmla="*/ 32 h 640"/>
                <a:gd name="T32" fmla="*/ 352 w 384"/>
                <a:gd name="T33" fmla="*/ 48 h 640"/>
                <a:gd name="T34" fmla="*/ 352 w 384"/>
                <a:gd name="T35" fmla="*/ 59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4" h="640">
                  <a:moveTo>
                    <a:pt x="336" y="0"/>
                  </a:moveTo>
                  <a:cubicBezTo>
                    <a:pt x="48" y="0"/>
                    <a:pt x="48" y="0"/>
                    <a:pt x="48" y="0"/>
                  </a:cubicBezTo>
                  <a:cubicBezTo>
                    <a:pt x="22" y="0"/>
                    <a:pt x="0" y="22"/>
                    <a:pt x="0" y="48"/>
                  </a:cubicBezTo>
                  <a:cubicBezTo>
                    <a:pt x="0" y="592"/>
                    <a:pt x="0" y="592"/>
                    <a:pt x="0" y="592"/>
                  </a:cubicBezTo>
                  <a:cubicBezTo>
                    <a:pt x="0" y="618"/>
                    <a:pt x="22" y="640"/>
                    <a:pt x="48" y="640"/>
                  </a:cubicBezTo>
                  <a:cubicBezTo>
                    <a:pt x="336" y="640"/>
                    <a:pt x="336" y="640"/>
                    <a:pt x="336" y="640"/>
                  </a:cubicBezTo>
                  <a:cubicBezTo>
                    <a:pt x="362" y="640"/>
                    <a:pt x="384" y="618"/>
                    <a:pt x="384" y="592"/>
                  </a:cubicBezTo>
                  <a:cubicBezTo>
                    <a:pt x="384" y="48"/>
                    <a:pt x="384" y="48"/>
                    <a:pt x="384" y="48"/>
                  </a:cubicBezTo>
                  <a:cubicBezTo>
                    <a:pt x="384" y="22"/>
                    <a:pt x="362" y="0"/>
                    <a:pt x="336" y="0"/>
                  </a:cubicBezTo>
                  <a:close/>
                  <a:moveTo>
                    <a:pt x="352" y="592"/>
                  </a:moveTo>
                  <a:cubicBezTo>
                    <a:pt x="352" y="601"/>
                    <a:pt x="345" y="608"/>
                    <a:pt x="336" y="608"/>
                  </a:cubicBezTo>
                  <a:cubicBezTo>
                    <a:pt x="48" y="608"/>
                    <a:pt x="48" y="608"/>
                    <a:pt x="48" y="608"/>
                  </a:cubicBezTo>
                  <a:cubicBezTo>
                    <a:pt x="39" y="608"/>
                    <a:pt x="32" y="601"/>
                    <a:pt x="32" y="592"/>
                  </a:cubicBezTo>
                  <a:cubicBezTo>
                    <a:pt x="32" y="48"/>
                    <a:pt x="32" y="48"/>
                    <a:pt x="32" y="48"/>
                  </a:cubicBezTo>
                  <a:cubicBezTo>
                    <a:pt x="32" y="39"/>
                    <a:pt x="39" y="32"/>
                    <a:pt x="48" y="32"/>
                  </a:cubicBezTo>
                  <a:cubicBezTo>
                    <a:pt x="336" y="32"/>
                    <a:pt x="336" y="32"/>
                    <a:pt x="336" y="32"/>
                  </a:cubicBezTo>
                  <a:cubicBezTo>
                    <a:pt x="345" y="32"/>
                    <a:pt x="352" y="39"/>
                    <a:pt x="352" y="48"/>
                  </a:cubicBezTo>
                  <a:lnTo>
                    <a:pt x="352"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4" name="Oval 86"/>
            <p:cNvSpPr>
              <a:spLocks noChangeArrowheads="1"/>
            </p:cNvSpPr>
            <p:nvPr>
              <p:custDataLst>
                <p:tags r:id="rId116"/>
              </p:custDataLst>
            </p:nvPr>
          </p:nvSpPr>
          <p:spPr bwMode="auto">
            <a:xfrm>
              <a:off x="3941763" y="6081713"/>
              <a:ext cx="138113"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5" name="Freeform 87"/>
            <p:cNvSpPr>
              <a:spLocks/>
            </p:cNvSpPr>
            <p:nvPr>
              <p:custDataLst>
                <p:tags r:id="rId117"/>
              </p:custDataLst>
            </p:nvPr>
          </p:nvSpPr>
          <p:spPr bwMode="auto">
            <a:xfrm>
              <a:off x="3906838" y="5114925"/>
              <a:ext cx="207963" cy="68262"/>
            </a:xfrm>
            <a:custGeom>
              <a:avLst/>
              <a:gdLst>
                <a:gd name="T0" fmla="*/ 80 w 96"/>
                <a:gd name="T1" fmla="*/ 0 h 32"/>
                <a:gd name="T2" fmla="*/ 16 w 96"/>
                <a:gd name="T3" fmla="*/ 0 h 32"/>
                <a:gd name="T4" fmla="*/ 0 w 96"/>
                <a:gd name="T5" fmla="*/ 16 h 32"/>
                <a:gd name="T6" fmla="*/ 16 w 96"/>
                <a:gd name="T7" fmla="*/ 32 h 32"/>
                <a:gd name="T8" fmla="*/ 80 w 96"/>
                <a:gd name="T9" fmla="*/ 32 h 32"/>
                <a:gd name="T10" fmla="*/ 96 w 96"/>
                <a:gd name="T11" fmla="*/ 16 h 32"/>
                <a:gd name="T12" fmla="*/ 80 w 9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96" h="32">
                  <a:moveTo>
                    <a:pt x="80" y="0"/>
                  </a:moveTo>
                  <a:cubicBezTo>
                    <a:pt x="16" y="0"/>
                    <a:pt x="16" y="0"/>
                    <a:pt x="16" y="0"/>
                  </a:cubicBezTo>
                  <a:cubicBezTo>
                    <a:pt x="7" y="0"/>
                    <a:pt x="0" y="7"/>
                    <a:pt x="0" y="16"/>
                  </a:cubicBezTo>
                  <a:cubicBezTo>
                    <a:pt x="0" y="25"/>
                    <a:pt x="7" y="32"/>
                    <a:pt x="16" y="32"/>
                  </a:cubicBezTo>
                  <a:cubicBezTo>
                    <a:pt x="80" y="32"/>
                    <a:pt x="80" y="32"/>
                    <a:pt x="80" y="32"/>
                  </a:cubicBezTo>
                  <a:cubicBezTo>
                    <a:pt x="89" y="32"/>
                    <a:pt x="96" y="25"/>
                    <a:pt x="96" y="16"/>
                  </a:cubicBezTo>
                  <a:cubicBezTo>
                    <a:pt x="96" y="7"/>
                    <a:pt x="89"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grpSp>
        <p:nvGrpSpPr>
          <p:cNvPr id="126" name="Group 125"/>
          <p:cNvGrpSpPr/>
          <p:nvPr/>
        </p:nvGrpSpPr>
        <p:grpSpPr>
          <a:xfrm rot="5400000">
            <a:off x="11163670" y="414590"/>
            <a:ext cx="369740" cy="258818"/>
            <a:chOff x="5203825" y="5467350"/>
            <a:chExt cx="1381125" cy="966787"/>
          </a:xfrm>
          <a:solidFill>
            <a:schemeClr val="bg1"/>
          </a:solidFill>
        </p:grpSpPr>
        <p:sp>
          <p:nvSpPr>
            <p:cNvPr id="127" name="Freeform 169"/>
            <p:cNvSpPr>
              <a:spLocks noEditPoints="1"/>
            </p:cNvSpPr>
            <p:nvPr>
              <p:custDataLst>
                <p:tags r:id="rId113"/>
              </p:custDataLst>
            </p:nvPr>
          </p:nvSpPr>
          <p:spPr bwMode="auto">
            <a:xfrm>
              <a:off x="5203825" y="5467350"/>
              <a:ext cx="1381125" cy="966787"/>
            </a:xfrm>
            <a:custGeom>
              <a:avLst/>
              <a:gdLst>
                <a:gd name="T0" fmla="*/ 576 w 640"/>
                <a:gd name="T1" fmla="*/ 0 h 448"/>
                <a:gd name="T2" fmla="*/ 64 w 640"/>
                <a:gd name="T3" fmla="*/ 0 h 448"/>
                <a:gd name="T4" fmla="*/ 0 w 640"/>
                <a:gd name="T5" fmla="*/ 64 h 448"/>
                <a:gd name="T6" fmla="*/ 0 w 640"/>
                <a:gd name="T7" fmla="*/ 384 h 448"/>
                <a:gd name="T8" fmla="*/ 64 w 640"/>
                <a:gd name="T9" fmla="*/ 448 h 448"/>
                <a:gd name="T10" fmla="*/ 576 w 640"/>
                <a:gd name="T11" fmla="*/ 448 h 448"/>
                <a:gd name="T12" fmla="*/ 640 w 640"/>
                <a:gd name="T13" fmla="*/ 384 h 448"/>
                <a:gd name="T14" fmla="*/ 640 w 640"/>
                <a:gd name="T15" fmla="*/ 64 h 448"/>
                <a:gd name="T16" fmla="*/ 576 w 640"/>
                <a:gd name="T17" fmla="*/ 0 h 448"/>
                <a:gd name="T18" fmla="*/ 608 w 640"/>
                <a:gd name="T19" fmla="*/ 384 h 448"/>
                <a:gd name="T20" fmla="*/ 576 w 640"/>
                <a:gd name="T21" fmla="*/ 416 h 448"/>
                <a:gd name="T22" fmla="*/ 64 w 640"/>
                <a:gd name="T23" fmla="*/ 416 h 448"/>
                <a:gd name="T24" fmla="*/ 32 w 640"/>
                <a:gd name="T25" fmla="*/ 384 h 448"/>
                <a:gd name="T26" fmla="*/ 32 w 640"/>
                <a:gd name="T27" fmla="*/ 64 h 448"/>
                <a:gd name="T28" fmla="*/ 64 w 640"/>
                <a:gd name="T29" fmla="*/ 32 h 448"/>
                <a:gd name="T30" fmla="*/ 576 w 640"/>
                <a:gd name="T31" fmla="*/ 32 h 448"/>
                <a:gd name="T32" fmla="*/ 608 w 640"/>
                <a:gd name="T33" fmla="*/ 64 h 448"/>
                <a:gd name="T34" fmla="*/ 608 w 640"/>
                <a:gd name="T35" fmla="*/ 384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0" h="448">
                  <a:moveTo>
                    <a:pt x="576" y="0"/>
                  </a:moveTo>
                  <a:cubicBezTo>
                    <a:pt x="64" y="0"/>
                    <a:pt x="64" y="0"/>
                    <a:pt x="64" y="0"/>
                  </a:cubicBezTo>
                  <a:cubicBezTo>
                    <a:pt x="29" y="0"/>
                    <a:pt x="0" y="29"/>
                    <a:pt x="0" y="64"/>
                  </a:cubicBezTo>
                  <a:cubicBezTo>
                    <a:pt x="0" y="384"/>
                    <a:pt x="0" y="384"/>
                    <a:pt x="0" y="384"/>
                  </a:cubicBezTo>
                  <a:cubicBezTo>
                    <a:pt x="0" y="419"/>
                    <a:pt x="29" y="448"/>
                    <a:pt x="64" y="448"/>
                  </a:cubicBezTo>
                  <a:cubicBezTo>
                    <a:pt x="576" y="448"/>
                    <a:pt x="576" y="448"/>
                    <a:pt x="576" y="448"/>
                  </a:cubicBezTo>
                  <a:cubicBezTo>
                    <a:pt x="612" y="448"/>
                    <a:pt x="640" y="419"/>
                    <a:pt x="640" y="384"/>
                  </a:cubicBezTo>
                  <a:cubicBezTo>
                    <a:pt x="640" y="64"/>
                    <a:pt x="640" y="64"/>
                    <a:pt x="640" y="64"/>
                  </a:cubicBezTo>
                  <a:cubicBezTo>
                    <a:pt x="640" y="29"/>
                    <a:pt x="612" y="0"/>
                    <a:pt x="576" y="0"/>
                  </a:cubicBezTo>
                  <a:close/>
                  <a:moveTo>
                    <a:pt x="608" y="384"/>
                  </a:moveTo>
                  <a:cubicBezTo>
                    <a:pt x="608" y="402"/>
                    <a:pt x="594" y="416"/>
                    <a:pt x="576" y="416"/>
                  </a:cubicBezTo>
                  <a:cubicBezTo>
                    <a:pt x="64" y="416"/>
                    <a:pt x="64" y="416"/>
                    <a:pt x="64" y="416"/>
                  </a:cubicBezTo>
                  <a:cubicBezTo>
                    <a:pt x="47" y="416"/>
                    <a:pt x="32" y="402"/>
                    <a:pt x="32" y="384"/>
                  </a:cubicBezTo>
                  <a:cubicBezTo>
                    <a:pt x="32" y="64"/>
                    <a:pt x="32" y="64"/>
                    <a:pt x="32" y="64"/>
                  </a:cubicBezTo>
                  <a:cubicBezTo>
                    <a:pt x="32" y="46"/>
                    <a:pt x="47" y="32"/>
                    <a:pt x="64" y="32"/>
                  </a:cubicBezTo>
                  <a:cubicBezTo>
                    <a:pt x="576" y="32"/>
                    <a:pt x="576" y="32"/>
                    <a:pt x="576" y="32"/>
                  </a:cubicBezTo>
                  <a:cubicBezTo>
                    <a:pt x="594" y="32"/>
                    <a:pt x="608" y="46"/>
                    <a:pt x="608" y="64"/>
                  </a:cubicBezTo>
                  <a:lnTo>
                    <a:pt x="60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8" name="Oval 170"/>
            <p:cNvSpPr>
              <a:spLocks noChangeArrowheads="1"/>
            </p:cNvSpPr>
            <p:nvPr>
              <p:custDataLst>
                <p:tags r:id="rId114"/>
              </p:custDataLst>
            </p:nvPr>
          </p:nvSpPr>
          <p:spPr bwMode="auto">
            <a:xfrm>
              <a:off x="6376988" y="5916613"/>
              <a:ext cx="69850" cy="68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grpSp>
        <p:nvGrpSpPr>
          <p:cNvPr id="129" name="Group 128"/>
          <p:cNvGrpSpPr/>
          <p:nvPr/>
        </p:nvGrpSpPr>
        <p:grpSpPr>
          <a:xfrm>
            <a:off x="7641167" y="5473567"/>
            <a:ext cx="401574" cy="321721"/>
            <a:chOff x="3314700" y="1863726"/>
            <a:chExt cx="1381125" cy="1106488"/>
          </a:xfrm>
          <a:solidFill>
            <a:schemeClr val="bg1"/>
          </a:solidFill>
        </p:grpSpPr>
        <p:sp>
          <p:nvSpPr>
            <p:cNvPr id="130" name="Freeform 22"/>
            <p:cNvSpPr>
              <a:spLocks noEditPoints="1"/>
            </p:cNvSpPr>
            <p:nvPr>
              <p:custDataLst>
                <p:tags r:id="rId110"/>
              </p:custDataLst>
            </p:nvPr>
          </p:nvSpPr>
          <p:spPr bwMode="auto">
            <a:xfrm>
              <a:off x="3522663" y="2417763"/>
              <a:ext cx="336550" cy="206375"/>
            </a:xfrm>
            <a:custGeom>
              <a:avLst/>
              <a:gdLst>
                <a:gd name="T0" fmla="*/ 112 w 156"/>
                <a:gd name="T1" fmla="*/ 96 h 96"/>
                <a:gd name="T2" fmla="*/ 44 w 156"/>
                <a:gd name="T3" fmla="*/ 96 h 96"/>
                <a:gd name="T4" fmla="*/ 0 w 156"/>
                <a:gd name="T5" fmla="*/ 52 h 96"/>
                <a:gd name="T6" fmla="*/ 0 w 156"/>
                <a:gd name="T7" fmla="*/ 44 h 96"/>
                <a:gd name="T8" fmla="*/ 44 w 156"/>
                <a:gd name="T9" fmla="*/ 0 h 96"/>
                <a:gd name="T10" fmla="*/ 46 w 156"/>
                <a:gd name="T11" fmla="*/ 0 h 96"/>
                <a:gd name="T12" fmla="*/ 114 w 156"/>
                <a:gd name="T13" fmla="*/ 8 h 96"/>
                <a:gd name="T14" fmla="*/ 156 w 156"/>
                <a:gd name="T15" fmla="*/ 52 h 96"/>
                <a:gd name="T16" fmla="*/ 112 w 156"/>
                <a:gd name="T17" fmla="*/ 96 h 96"/>
                <a:gd name="T18" fmla="*/ 44 w 156"/>
                <a:gd name="T19" fmla="*/ 32 h 96"/>
                <a:gd name="T20" fmla="*/ 32 w 156"/>
                <a:gd name="T21" fmla="*/ 44 h 96"/>
                <a:gd name="T22" fmla="*/ 32 w 156"/>
                <a:gd name="T23" fmla="*/ 52 h 96"/>
                <a:gd name="T24" fmla="*/ 44 w 156"/>
                <a:gd name="T25" fmla="*/ 64 h 96"/>
                <a:gd name="T26" fmla="*/ 112 w 156"/>
                <a:gd name="T27" fmla="*/ 64 h 96"/>
                <a:gd name="T28" fmla="*/ 124 w 156"/>
                <a:gd name="T29" fmla="*/ 52 h 96"/>
                <a:gd name="T30" fmla="*/ 111 w 156"/>
                <a:gd name="T31" fmla="*/ 40 h 96"/>
                <a:gd name="T32" fmla="*/ 44 w 156"/>
                <a:gd name="T33" fmla="*/ 3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96">
                  <a:moveTo>
                    <a:pt x="112" y="96"/>
                  </a:moveTo>
                  <a:cubicBezTo>
                    <a:pt x="44" y="96"/>
                    <a:pt x="44" y="96"/>
                    <a:pt x="44" y="96"/>
                  </a:cubicBezTo>
                  <a:cubicBezTo>
                    <a:pt x="20" y="96"/>
                    <a:pt x="0" y="76"/>
                    <a:pt x="0" y="52"/>
                  </a:cubicBezTo>
                  <a:cubicBezTo>
                    <a:pt x="0" y="44"/>
                    <a:pt x="0" y="44"/>
                    <a:pt x="0" y="44"/>
                  </a:cubicBezTo>
                  <a:cubicBezTo>
                    <a:pt x="0" y="20"/>
                    <a:pt x="20" y="0"/>
                    <a:pt x="44" y="0"/>
                  </a:cubicBezTo>
                  <a:cubicBezTo>
                    <a:pt x="46" y="0"/>
                    <a:pt x="46" y="0"/>
                    <a:pt x="46" y="0"/>
                  </a:cubicBezTo>
                  <a:cubicBezTo>
                    <a:pt x="46" y="0"/>
                    <a:pt x="96" y="6"/>
                    <a:pt x="114" y="8"/>
                  </a:cubicBezTo>
                  <a:cubicBezTo>
                    <a:pt x="140" y="11"/>
                    <a:pt x="156" y="28"/>
                    <a:pt x="156" y="52"/>
                  </a:cubicBezTo>
                  <a:cubicBezTo>
                    <a:pt x="156" y="76"/>
                    <a:pt x="137" y="96"/>
                    <a:pt x="112" y="96"/>
                  </a:cubicBezTo>
                  <a:close/>
                  <a:moveTo>
                    <a:pt x="44" y="32"/>
                  </a:moveTo>
                  <a:cubicBezTo>
                    <a:pt x="37" y="32"/>
                    <a:pt x="32" y="38"/>
                    <a:pt x="32" y="44"/>
                  </a:cubicBezTo>
                  <a:cubicBezTo>
                    <a:pt x="32" y="52"/>
                    <a:pt x="32" y="52"/>
                    <a:pt x="32" y="52"/>
                  </a:cubicBezTo>
                  <a:cubicBezTo>
                    <a:pt x="32" y="59"/>
                    <a:pt x="38" y="64"/>
                    <a:pt x="44" y="64"/>
                  </a:cubicBezTo>
                  <a:cubicBezTo>
                    <a:pt x="112" y="64"/>
                    <a:pt x="112" y="64"/>
                    <a:pt x="112" y="64"/>
                  </a:cubicBezTo>
                  <a:cubicBezTo>
                    <a:pt x="119" y="64"/>
                    <a:pt x="124" y="59"/>
                    <a:pt x="124" y="52"/>
                  </a:cubicBezTo>
                  <a:cubicBezTo>
                    <a:pt x="124" y="48"/>
                    <a:pt x="124" y="42"/>
                    <a:pt x="111" y="40"/>
                  </a:cubicBezTo>
                  <a:cubicBezTo>
                    <a:pt x="94" y="38"/>
                    <a:pt x="51" y="33"/>
                    <a:pt x="4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1" name="Freeform 23"/>
            <p:cNvSpPr>
              <a:spLocks noEditPoints="1"/>
            </p:cNvSpPr>
            <p:nvPr>
              <p:custDataLst>
                <p:tags r:id="rId111"/>
              </p:custDataLst>
            </p:nvPr>
          </p:nvSpPr>
          <p:spPr bwMode="auto">
            <a:xfrm>
              <a:off x="3314700" y="1863726"/>
              <a:ext cx="1381125" cy="1106488"/>
            </a:xfrm>
            <a:custGeom>
              <a:avLst/>
              <a:gdLst>
                <a:gd name="T0" fmla="*/ 584 w 640"/>
                <a:gd name="T1" fmla="*/ 513 h 513"/>
                <a:gd name="T2" fmla="*/ 515 w 640"/>
                <a:gd name="T3" fmla="*/ 513 h 513"/>
                <a:gd name="T4" fmla="*/ 514 w 640"/>
                <a:gd name="T5" fmla="*/ 513 h 513"/>
                <a:gd name="T6" fmla="*/ 477 w 640"/>
                <a:gd name="T7" fmla="*/ 433 h 513"/>
                <a:gd name="T8" fmla="*/ 164 w 640"/>
                <a:gd name="T9" fmla="*/ 433 h 513"/>
                <a:gd name="T10" fmla="*/ 127 w 640"/>
                <a:gd name="T11" fmla="*/ 513 h 513"/>
                <a:gd name="T12" fmla="*/ 126 w 640"/>
                <a:gd name="T13" fmla="*/ 513 h 513"/>
                <a:gd name="T14" fmla="*/ 56 w 640"/>
                <a:gd name="T15" fmla="*/ 513 h 513"/>
                <a:gd name="T16" fmla="*/ 16 w 640"/>
                <a:gd name="T17" fmla="*/ 417 h 513"/>
                <a:gd name="T18" fmla="*/ 16 w 640"/>
                <a:gd name="T19" fmla="*/ 305 h 513"/>
                <a:gd name="T20" fmla="*/ 36 w 640"/>
                <a:gd name="T21" fmla="*/ 240 h 513"/>
                <a:gd name="T22" fmla="*/ 0 w 640"/>
                <a:gd name="T23" fmla="*/ 193 h 513"/>
                <a:gd name="T24" fmla="*/ 42 w 640"/>
                <a:gd name="T25" fmla="*/ 145 h 513"/>
                <a:gd name="T26" fmla="*/ 44 w 640"/>
                <a:gd name="T27" fmla="*/ 145 h 513"/>
                <a:gd name="T28" fmla="*/ 101 w 640"/>
                <a:gd name="T29" fmla="*/ 145 h 513"/>
                <a:gd name="T30" fmla="*/ 148 w 640"/>
                <a:gd name="T31" fmla="*/ 56 h 513"/>
                <a:gd name="T32" fmla="*/ 252 w 640"/>
                <a:gd name="T33" fmla="*/ 6 h 513"/>
                <a:gd name="T34" fmla="*/ 320 w 640"/>
                <a:gd name="T35" fmla="*/ 1 h 513"/>
                <a:gd name="T36" fmla="*/ 390 w 640"/>
                <a:gd name="T37" fmla="*/ 6 h 513"/>
                <a:gd name="T38" fmla="*/ 493 w 640"/>
                <a:gd name="T39" fmla="*/ 56 h 513"/>
                <a:gd name="T40" fmla="*/ 540 w 640"/>
                <a:gd name="T41" fmla="*/ 145 h 513"/>
                <a:gd name="T42" fmla="*/ 599 w 640"/>
                <a:gd name="T43" fmla="*/ 145 h 513"/>
                <a:gd name="T44" fmla="*/ 640 w 640"/>
                <a:gd name="T45" fmla="*/ 193 h 513"/>
                <a:gd name="T46" fmla="*/ 605 w 640"/>
                <a:gd name="T47" fmla="*/ 240 h 513"/>
                <a:gd name="T48" fmla="*/ 624 w 640"/>
                <a:gd name="T49" fmla="*/ 305 h 513"/>
                <a:gd name="T50" fmla="*/ 624 w 640"/>
                <a:gd name="T51" fmla="*/ 417 h 513"/>
                <a:gd name="T52" fmla="*/ 584 w 640"/>
                <a:gd name="T53" fmla="*/ 513 h 513"/>
                <a:gd name="T54" fmla="*/ 521 w 640"/>
                <a:gd name="T55" fmla="*/ 481 h 513"/>
                <a:gd name="T56" fmla="*/ 582 w 640"/>
                <a:gd name="T57" fmla="*/ 481 h 513"/>
                <a:gd name="T58" fmla="*/ 592 w 640"/>
                <a:gd name="T59" fmla="*/ 417 h 513"/>
                <a:gd name="T60" fmla="*/ 592 w 640"/>
                <a:gd name="T61" fmla="*/ 305 h 513"/>
                <a:gd name="T62" fmla="*/ 564 w 640"/>
                <a:gd name="T63" fmla="*/ 235 h 513"/>
                <a:gd name="T64" fmla="*/ 543 w 640"/>
                <a:gd name="T65" fmla="*/ 209 h 513"/>
                <a:gd name="T66" fmla="*/ 592 w 640"/>
                <a:gd name="T67" fmla="*/ 209 h 513"/>
                <a:gd name="T68" fmla="*/ 608 w 640"/>
                <a:gd name="T69" fmla="*/ 193 h 513"/>
                <a:gd name="T70" fmla="*/ 595 w 640"/>
                <a:gd name="T71" fmla="*/ 177 h 513"/>
                <a:gd name="T72" fmla="*/ 517 w 640"/>
                <a:gd name="T73" fmla="*/ 177 h 513"/>
                <a:gd name="T74" fmla="*/ 513 w 640"/>
                <a:gd name="T75" fmla="*/ 166 h 513"/>
                <a:gd name="T76" fmla="*/ 468 w 640"/>
                <a:gd name="T77" fmla="*/ 75 h 513"/>
                <a:gd name="T78" fmla="*/ 467 w 640"/>
                <a:gd name="T79" fmla="*/ 74 h 513"/>
                <a:gd name="T80" fmla="*/ 321 w 640"/>
                <a:gd name="T81" fmla="*/ 33 h 513"/>
                <a:gd name="T82" fmla="*/ 321 w 640"/>
                <a:gd name="T83" fmla="*/ 33 h 513"/>
                <a:gd name="T84" fmla="*/ 320 w 640"/>
                <a:gd name="T85" fmla="*/ 33 h 513"/>
                <a:gd name="T86" fmla="*/ 174 w 640"/>
                <a:gd name="T87" fmla="*/ 74 h 513"/>
                <a:gd name="T88" fmla="*/ 173 w 640"/>
                <a:gd name="T89" fmla="*/ 75 h 513"/>
                <a:gd name="T90" fmla="*/ 128 w 640"/>
                <a:gd name="T91" fmla="*/ 166 h 513"/>
                <a:gd name="T92" fmla="*/ 124 w 640"/>
                <a:gd name="T93" fmla="*/ 177 h 513"/>
                <a:gd name="T94" fmla="*/ 46 w 640"/>
                <a:gd name="T95" fmla="*/ 177 h 513"/>
                <a:gd name="T96" fmla="*/ 32 w 640"/>
                <a:gd name="T97" fmla="*/ 193 h 513"/>
                <a:gd name="T98" fmla="*/ 48 w 640"/>
                <a:gd name="T99" fmla="*/ 209 h 513"/>
                <a:gd name="T100" fmla="*/ 98 w 640"/>
                <a:gd name="T101" fmla="*/ 209 h 513"/>
                <a:gd name="T102" fmla="*/ 77 w 640"/>
                <a:gd name="T103" fmla="*/ 235 h 513"/>
                <a:gd name="T104" fmla="*/ 48 w 640"/>
                <a:gd name="T105" fmla="*/ 305 h 513"/>
                <a:gd name="T106" fmla="*/ 48 w 640"/>
                <a:gd name="T107" fmla="*/ 417 h 513"/>
                <a:gd name="T108" fmla="*/ 59 w 640"/>
                <a:gd name="T109" fmla="*/ 481 h 513"/>
                <a:gd name="T110" fmla="*/ 120 w 640"/>
                <a:gd name="T111" fmla="*/ 481 h 513"/>
                <a:gd name="T112" fmla="*/ 132 w 640"/>
                <a:gd name="T113" fmla="*/ 417 h 513"/>
                <a:gd name="T114" fmla="*/ 132 w 640"/>
                <a:gd name="T115" fmla="*/ 401 h 513"/>
                <a:gd name="T116" fmla="*/ 508 w 640"/>
                <a:gd name="T117" fmla="*/ 401 h 513"/>
                <a:gd name="T118" fmla="*/ 508 w 640"/>
                <a:gd name="T119" fmla="*/ 417 h 513"/>
                <a:gd name="T120" fmla="*/ 521 w 640"/>
                <a:gd name="T121" fmla="*/ 481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0" h="513">
                  <a:moveTo>
                    <a:pt x="584" y="513"/>
                  </a:moveTo>
                  <a:cubicBezTo>
                    <a:pt x="515" y="513"/>
                    <a:pt x="515" y="513"/>
                    <a:pt x="515" y="513"/>
                  </a:cubicBezTo>
                  <a:cubicBezTo>
                    <a:pt x="514" y="513"/>
                    <a:pt x="514" y="513"/>
                    <a:pt x="514" y="513"/>
                  </a:cubicBezTo>
                  <a:cubicBezTo>
                    <a:pt x="506" y="511"/>
                    <a:pt x="480" y="502"/>
                    <a:pt x="477" y="433"/>
                  </a:cubicBezTo>
                  <a:cubicBezTo>
                    <a:pt x="164" y="433"/>
                    <a:pt x="164" y="433"/>
                    <a:pt x="164" y="433"/>
                  </a:cubicBezTo>
                  <a:cubicBezTo>
                    <a:pt x="162" y="462"/>
                    <a:pt x="155" y="508"/>
                    <a:pt x="127" y="513"/>
                  </a:cubicBezTo>
                  <a:cubicBezTo>
                    <a:pt x="126" y="513"/>
                    <a:pt x="126" y="513"/>
                    <a:pt x="126" y="513"/>
                  </a:cubicBezTo>
                  <a:cubicBezTo>
                    <a:pt x="56" y="513"/>
                    <a:pt x="56" y="513"/>
                    <a:pt x="56" y="513"/>
                  </a:cubicBezTo>
                  <a:cubicBezTo>
                    <a:pt x="20" y="513"/>
                    <a:pt x="16" y="446"/>
                    <a:pt x="16" y="417"/>
                  </a:cubicBezTo>
                  <a:cubicBezTo>
                    <a:pt x="16" y="305"/>
                    <a:pt x="16" y="305"/>
                    <a:pt x="16" y="305"/>
                  </a:cubicBezTo>
                  <a:cubicBezTo>
                    <a:pt x="16" y="281"/>
                    <a:pt x="27" y="257"/>
                    <a:pt x="36" y="240"/>
                  </a:cubicBezTo>
                  <a:cubicBezTo>
                    <a:pt x="14" y="234"/>
                    <a:pt x="0" y="213"/>
                    <a:pt x="0" y="193"/>
                  </a:cubicBezTo>
                  <a:cubicBezTo>
                    <a:pt x="0" y="160"/>
                    <a:pt x="28" y="147"/>
                    <a:pt x="42" y="145"/>
                  </a:cubicBezTo>
                  <a:cubicBezTo>
                    <a:pt x="44" y="145"/>
                    <a:pt x="44" y="145"/>
                    <a:pt x="44" y="145"/>
                  </a:cubicBezTo>
                  <a:cubicBezTo>
                    <a:pt x="101" y="145"/>
                    <a:pt x="101" y="145"/>
                    <a:pt x="101" y="145"/>
                  </a:cubicBezTo>
                  <a:cubicBezTo>
                    <a:pt x="109" y="125"/>
                    <a:pt x="126" y="84"/>
                    <a:pt x="148" y="56"/>
                  </a:cubicBezTo>
                  <a:cubicBezTo>
                    <a:pt x="165" y="30"/>
                    <a:pt x="200" y="14"/>
                    <a:pt x="252" y="6"/>
                  </a:cubicBezTo>
                  <a:cubicBezTo>
                    <a:pt x="286" y="0"/>
                    <a:pt x="316" y="1"/>
                    <a:pt x="320" y="1"/>
                  </a:cubicBezTo>
                  <a:cubicBezTo>
                    <a:pt x="325" y="1"/>
                    <a:pt x="355" y="0"/>
                    <a:pt x="390" y="6"/>
                  </a:cubicBezTo>
                  <a:cubicBezTo>
                    <a:pt x="441" y="14"/>
                    <a:pt x="476" y="30"/>
                    <a:pt x="493" y="56"/>
                  </a:cubicBezTo>
                  <a:cubicBezTo>
                    <a:pt x="515" y="84"/>
                    <a:pt x="532" y="125"/>
                    <a:pt x="540" y="145"/>
                  </a:cubicBezTo>
                  <a:cubicBezTo>
                    <a:pt x="599" y="145"/>
                    <a:pt x="599" y="145"/>
                    <a:pt x="599" y="145"/>
                  </a:cubicBezTo>
                  <a:cubicBezTo>
                    <a:pt x="613" y="147"/>
                    <a:pt x="640" y="160"/>
                    <a:pt x="640" y="193"/>
                  </a:cubicBezTo>
                  <a:cubicBezTo>
                    <a:pt x="640" y="213"/>
                    <a:pt x="627" y="234"/>
                    <a:pt x="605" y="240"/>
                  </a:cubicBezTo>
                  <a:cubicBezTo>
                    <a:pt x="614" y="257"/>
                    <a:pt x="624" y="281"/>
                    <a:pt x="624" y="305"/>
                  </a:cubicBezTo>
                  <a:cubicBezTo>
                    <a:pt x="624" y="417"/>
                    <a:pt x="624" y="417"/>
                    <a:pt x="624" y="417"/>
                  </a:cubicBezTo>
                  <a:cubicBezTo>
                    <a:pt x="624" y="446"/>
                    <a:pt x="621" y="513"/>
                    <a:pt x="584" y="513"/>
                  </a:cubicBezTo>
                  <a:close/>
                  <a:moveTo>
                    <a:pt x="521" y="481"/>
                  </a:moveTo>
                  <a:cubicBezTo>
                    <a:pt x="582" y="481"/>
                    <a:pt x="582" y="481"/>
                    <a:pt x="582" y="481"/>
                  </a:cubicBezTo>
                  <a:cubicBezTo>
                    <a:pt x="586" y="475"/>
                    <a:pt x="592" y="453"/>
                    <a:pt x="592" y="417"/>
                  </a:cubicBezTo>
                  <a:cubicBezTo>
                    <a:pt x="592" y="305"/>
                    <a:pt x="592" y="305"/>
                    <a:pt x="592" y="305"/>
                  </a:cubicBezTo>
                  <a:cubicBezTo>
                    <a:pt x="592" y="277"/>
                    <a:pt x="572" y="245"/>
                    <a:pt x="564" y="235"/>
                  </a:cubicBezTo>
                  <a:cubicBezTo>
                    <a:pt x="543" y="209"/>
                    <a:pt x="543" y="209"/>
                    <a:pt x="543" y="209"/>
                  </a:cubicBezTo>
                  <a:cubicBezTo>
                    <a:pt x="592" y="209"/>
                    <a:pt x="592" y="209"/>
                    <a:pt x="592" y="209"/>
                  </a:cubicBezTo>
                  <a:cubicBezTo>
                    <a:pt x="604" y="209"/>
                    <a:pt x="608" y="199"/>
                    <a:pt x="608" y="193"/>
                  </a:cubicBezTo>
                  <a:cubicBezTo>
                    <a:pt x="608" y="182"/>
                    <a:pt x="600" y="178"/>
                    <a:pt x="595" y="177"/>
                  </a:cubicBezTo>
                  <a:cubicBezTo>
                    <a:pt x="517" y="177"/>
                    <a:pt x="517" y="177"/>
                    <a:pt x="517" y="177"/>
                  </a:cubicBezTo>
                  <a:cubicBezTo>
                    <a:pt x="513" y="166"/>
                    <a:pt x="513" y="166"/>
                    <a:pt x="513" y="166"/>
                  </a:cubicBezTo>
                  <a:cubicBezTo>
                    <a:pt x="513" y="166"/>
                    <a:pt x="494" y="108"/>
                    <a:pt x="468" y="75"/>
                  </a:cubicBezTo>
                  <a:cubicBezTo>
                    <a:pt x="467" y="74"/>
                    <a:pt x="467" y="74"/>
                    <a:pt x="467" y="74"/>
                  </a:cubicBezTo>
                  <a:cubicBezTo>
                    <a:pt x="442" y="37"/>
                    <a:pt x="353" y="32"/>
                    <a:pt x="321" y="33"/>
                  </a:cubicBezTo>
                  <a:cubicBezTo>
                    <a:pt x="321" y="33"/>
                    <a:pt x="321" y="33"/>
                    <a:pt x="321" y="33"/>
                  </a:cubicBezTo>
                  <a:cubicBezTo>
                    <a:pt x="320" y="33"/>
                    <a:pt x="320" y="33"/>
                    <a:pt x="320" y="33"/>
                  </a:cubicBezTo>
                  <a:cubicBezTo>
                    <a:pt x="288" y="32"/>
                    <a:pt x="199" y="37"/>
                    <a:pt x="174" y="74"/>
                  </a:cubicBezTo>
                  <a:cubicBezTo>
                    <a:pt x="173" y="75"/>
                    <a:pt x="173" y="75"/>
                    <a:pt x="173" y="75"/>
                  </a:cubicBezTo>
                  <a:cubicBezTo>
                    <a:pt x="147" y="108"/>
                    <a:pt x="128" y="166"/>
                    <a:pt x="128" y="166"/>
                  </a:cubicBezTo>
                  <a:cubicBezTo>
                    <a:pt x="124" y="177"/>
                    <a:pt x="124" y="177"/>
                    <a:pt x="124" y="177"/>
                  </a:cubicBezTo>
                  <a:cubicBezTo>
                    <a:pt x="46" y="177"/>
                    <a:pt x="46" y="177"/>
                    <a:pt x="46" y="177"/>
                  </a:cubicBezTo>
                  <a:cubicBezTo>
                    <a:pt x="41" y="178"/>
                    <a:pt x="32" y="181"/>
                    <a:pt x="32" y="193"/>
                  </a:cubicBezTo>
                  <a:cubicBezTo>
                    <a:pt x="32" y="199"/>
                    <a:pt x="37" y="209"/>
                    <a:pt x="48" y="209"/>
                  </a:cubicBezTo>
                  <a:cubicBezTo>
                    <a:pt x="98" y="209"/>
                    <a:pt x="98" y="209"/>
                    <a:pt x="98" y="209"/>
                  </a:cubicBezTo>
                  <a:cubicBezTo>
                    <a:pt x="77" y="235"/>
                    <a:pt x="77" y="235"/>
                    <a:pt x="77" y="235"/>
                  </a:cubicBezTo>
                  <a:cubicBezTo>
                    <a:pt x="77" y="235"/>
                    <a:pt x="48" y="271"/>
                    <a:pt x="48" y="305"/>
                  </a:cubicBezTo>
                  <a:cubicBezTo>
                    <a:pt x="48" y="417"/>
                    <a:pt x="48" y="417"/>
                    <a:pt x="48" y="417"/>
                  </a:cubicBezTo>
                  <a:cubicBezTo>
                    <a:pt x="48" y="453"/>
                    <a:pt x="55" y="475"/>
                    <a:pt x="59" y="481"/>
                  </a:cubicBezTo>
                  <a:cubicBezTo>
                    <a:pt x="120" y="481"/>
                    <a:pt x="120" y="481"/>
                    <a:pt x="120" y="481"/>
                  </a:cubicBezTo>
                  <a:cubicBezTo>
                    <a:pt x="123" y="477"/>
                    <a:pt x="132" y="463"/>
                    <a:pt x="132" y="417"/>
                  </a:cubicBezTo>
                  <a:cubicBezTo>
                    <a:pt x="132" y="401"/>
                    <a:pt x="132" y="401"/>
                    <a:pt x="132" y="401"/>
                  </a:cubicBezTo>
                  <a:cubicBezTo>
                    <a:pt x="508" y="401"/>
                    <a:pt x="508" y="401"/>
                    <a:pt x="508" y="401"/>
                  </a:cubicBezTo>
                  <a:cubicBezTo>
                    <a:pt x="508" y="417"/>
                    <a:pt x="508" y="417"/>
                    <a:pt x="508" y="417"/>
                  </a:cubicBezTo>
                  <a:cubicBezTo>
                    <a:pt x="508" y="463"/>
                    <a:pt x="518" y="477"/>
                    <a:pt x="521" y="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2" name="Freeform 24"/>
            <p:cNvSpPr>
              <a:spLocks noEditPoints="1"/>
            </p:cNvSpPr>
            <p:nvPr>
              <p:custDataLst>
                <p:tags r:id="rId112"/>
              </p:custDataLst>
            </p:nvPr>
          </p:nvSpPr>
          <p:spPr bwMode="auto">
            <a:xfrm>
              <a:off x="4152900" y="2417763"/>
              <a:ext cx="336550" cy="206375"/>
            </a:xfrm>
            <a:custGeom>
              <a:avLst/>
              <a:gdLst>
                <a:gd name="T0" fmla="*/ 112 w 156"/>
                <a:gd name="T1" fmla="*/ 96 h 96"/>
                <a:gd name="T2" fmla="*/ 44 w 156"/>
                <a:gd name="T3" fmla="*/ 96 h 96"/>
                <a:gd name="T4" fmla="*/ 0 w 156"/>
                <a:gd name="T5" fmla="*/ 52 h 96"/>
                <a:gd name="T6" fmla="*/ 43 w 156"/>
                <a:gd name="T7" fmla="*/ 8 h 96"/>
                <a:gd name="T8" fmla="*/ 111 w 156"/>
                <a:gd name="T9" fmla="*/ 0 h 96"/>
                <a:gd name="T10" fmla="*/ 112 w 156"/>
                <a:gd name="T11" fmla="*/ 0 h 96"/>
                <a:gd name="T12" fmla="*/ 156 w 156"/>
                <a:gd name="T13" fmla="*/ 44 h 96"/>
                <a:gd name="T14" fmla="*/ 156 w 156"/>
                <a:gd name="T15" fmla="*/ 52 h 96"/>
                <a:gd name="T16" fmla="*/ 112 w 156"/>
                <a:gd name="T17" fmla="*/ 96 h 96"/>
                <a:gd name="T18" fmla="*/ 113 w 156"/>
                <a:gd name="T19" fmla="*/ 32 h 96"/>
                <a:gd name="T20" fmla="*/ 46 w 156"/>
                <a:gd name="T21" fmla="*/ 40 h 96"/>
                <a:gd name="T22" fmla="*/ 32 w 156"/>
                <a:gd name="T23" fmla="*/ 52 h 96"/>
                <a:gd name="T24" fmla="*/ 44 w 156"/>
                <a:gd name="T25" fmla="*/ 64 h 96"/>
                <a:gd name="T26" fmla="*/ 112 w 156"/>
                <a:gd name="T27" fmla="*/ 64 h 96"/>
                <a:gd name="T28" fmla="*/ 124 w 156"/>
                <a:gd name="T29" fmla="*/ 52 h 96"/>
                <a:gd name="T30" fmla="*/ 124 w 156"/>
                <a:gd name="T31" fmla="*/ 44 h 96"/>
                <a:gd name="T32" fmla="*/ 113 w 156"/>
                <a:gd name="T33" fmla="*/ 3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96">
                  <a:moveTo>
                    <a:pt x="112" y="96"/>
                  </a:moveTo>
                  <a:cubicBezTo>
                    <a:pt x="44" y="96"/>
                    <a:pt x="44" y="96"/>
                    <a:pt x="44" y="96"/>
                  </a:cubicBezTo>
                  <a:cubicBezTo>
                    <a:pt x="20" y="96"/>
                    <a:pt x="0" y="76"/>
                    <a:pt x="0" y="52"/>
                  </a:cubicBezTo>
                  <a:cubicBezTo>
                    <a:pt x="0" y="28"/>
                    <a:pt x="17" y="11"/>
                    <a:pt x="43" y="8"/>
                  </a:cubicBezTo>
                  <a:cubicBezTo>
                    <a:pt x="61" y="6"/>
                    <a:pt x="111" y="0"/>
                    <a:pt x="111" y="0"/>
                  </a:cubicBezTo>
                  <a:cubicBezTo>
                    <a:pt x="112" y="0"/>
                    <a:pt x="112" y="0"/>
                    <a:pt x="112" y="0"/>
                  </a:cubicBezTo>
                  <a:cubicBezTo>
                    <a:pt x="137" y="0"/>
                    <a:pt x="156" y="20"/>
                    <a:pt x="156" y="44"/>
                  </a:cubicBezTo>
                  <a:cubicBezTo>
                    <a:pt x="156" y="52"/>
                    <a:pt x="156" y="52"/>
                    <a:pt x="156" y="52"/>
                  </a:cubicBezTo>
                  <a:cubicBezTo>
                    <a:pt x="156" y="76"/>
                    <a:pt x="137" y="96"/>
                    <a:pt x="112" y="96"/>
                  </a:cubicBezTo>
                  <a:close/>
                  <a:moveTo>
                    <a:pt x="113" y="32"/>
                  </a:moveTo>
                  <a:cubicBezTo>
                    <a:pt x="106" y="33"/>
                    <a:pt x="63" y="38"/>
                    <a:pt x="46" y="40"/>
                  </a:cubicBezTo>
                  <a:cubicBezTo>
                    <a:pt x="32" y="42"/>
                    <a:pt x="32" y="48"/>
                    <a:pt x="32" y="52"/>
                  </a:cubicBezTo>
                  <a:cubicBezTo>
                    <a:pt x="32" y="59"/>
                    <a:pt x="38" y="64"/>
                    <a:pt x="44" y="64"/>
                  </a:cubicBezTo>
                  <a:cubicBezTo>
                    <a:pt x="112" y="64"/>
                    <a:pt x="112" y="64"/>
                    <a:pt x="112" y="64"/>
                  </a:cubicBezTo>
                  <a:cubicBezTo>
                    <a:pt x="119" y="64"/>
                    <a:pt x="124" y="59"/>
                    <a:pt x="124" y="52"/>
                  </a:cubicBezTo>
                  <a:cubicBezTo>
                    <a:pt x="124" y="44"/>
                    <a:pt x="124" y="44"/>
                    <a:pt x="124" y="44"/>
                  </a:cubicBezTo>
                  <a:cubicBezTo>
                    <a:pt x="124" y="38"/>
                    <a:pt x="120" y="32"/>
                    <a:pt x="11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sp>
        <p:nvSpPr>
          <p:cNvPr id="133" name="Freeform 145"/>
          <p:cNvSpPr>
            <a:spLocks noEditPoints="1"/>
          </p:cNvSpPr>
          <p:nvPr>
            <p:custDataLst>
              <p:tags r:id="rId97"/>
            </p:custDataLst>
          </p:nvPr>
        </p:nvSpPr>
        <p:spPr bwMode="auto">
          <a:xfrm>
            <a:off x="4409260" y="6307179"/>
            <a:ext cx="469808" cy="293224"/>
          </a:xfrm>
          <a:custGeom>
            <a:avLst/>
            <a:gdLst>
              <a:gd name="T0" fmla="*/ 512 w 640"/>
              <a:gd name="T1" fmla="*/ 144 h 400"/>
              <a:gd name="T2" fmla="*/ 470 w 640"/>
              <a:gd name="T3" fmla="*/ 151 h 400"/>
              <a:gd name="T4" fmla="*/ 410 w 640"/>
              <a:gd name="T5" fmla="*/ 32 h 400"/>
              <a:gd name="T6" fmla="*/ 480 w 640"/>
              <a:gd name="T7" fmla="*/ 32 h 400"/>
              <a:gd name="T8" fmla="*/ 480 w 640"/>
              <a:gd name="T9" fmla="*/ 0 h 400"/>
              <a:gd name="T10" fmla="*/ 358 w 640"/>
              <a:gd name="T11" fmla="*/ 0 h 400"/>
              <a:gd name="T12" fmla="*/ 390 w 640"/>
              <a:gd name="T13" fmla="*/ 64 h 400"/>
              <a:gd name="T14" fmla="*/ 247 w 640"/>
              <a:gd name="T15" fmla="*/ 64 h 400"/>
              <a:gd name="T16" fmla="*/ 233 w 640"/>
              <a:gd name="T17" fmla="*/ 32 h 400"/>
              <a:gd name="T18" fmla="*/ 256 w 640"/>
              <a:gd name="T19" fmla="*/ 32 h 400"/>
              <a:gd name="T20" fmla="*/ 256 w 640"/>
              <a:gd name="T21" fmla="*/ 0 h 400"/>
              <a:gd name="T22" fmla="*/ 160 w 640"/>
              <a:gd name="T23" fmla="*/ 0 h 400"/>
              <a:gd name="T24" fmla="*/ 160 w 640"/>
              <a:gd name="T25" fmla="*/ 32 h 400"/>
              <a:gd name="T26" fmla="*/ 198 w 640"/>
              <a:gd name="T27" fmla="*/ 32 h 400"/>
              <a:gd name="T28" fmla="*/ 220 w 640"/>
              <a:gd name="T29" fmla="*/ 83 h 400"/>
              <a:gd name="T30" fmla="*/ 178 w 640"/>
              <a:gd name="T31" fmla="*/ 154 h 400"/>
              <a:gd name="T32" fmla="*/ 128 w 640"/>
              <a:gd name="T33" fmla="*/ 144 h 400"/>
              <a:gd name="T34" fmla="*/ 0 w 640"/>
              <a:gd name="T35" fmla="*/ 272 h 400"/>
              <a:gd name="T36" fmla="*/ 128 w 640"/>
              <a:gd name="T37" fmla="*/ 400 h 400"/>
              <a:gd name="T38" fmla="*/ 255 w 640"/>
              <a:gd name="T39" fmla="*/ 288 h 400"/>
              <a:gd name="T40" fmla="*/ 313 w 640"/>
              <a:gd name="T41" fmla="*/ 288 h 400"/>
              <a:gd name="T42" fmla="*/ 415 w 640"/>
              <a:gd name="T43" fmla="*/ 114 h 400"/>
              <a:gd name="T44" fmla="*/ 441 w 640"/>
              <a:gd name="T45" fmla="*/ 166 h 400"/>
              <a:gd name="T46" fmla="*/ 384 w 640"/>
              <a:gd name="T47" fmla="*/ 272 h 400"/>
              <a:gd name="T48" fmla="*/ 512 w 640"/>
              <a:gd name="T49" fmla="*/ 400 h 400"/>
              <a:gd name="T50" fmla="*/ 640 w 640"/>
              <a:gd name="T51" fmla="*/ 272 h 400"/>
              <a:gd name="T52" fmla="*/ 512 w 640"/>
              <a:gd name="T53" fmla="*/ 144 h 400"/>
              <a:gd name="T54" fmla="*/ 128 w 640"/>
              <a:gd name="T55" fmla="*/ 368 h 400"/>
              <a:gd name="T56" fmla="*/ 32 w 640"/>
              <a:gd name="T57" fmla="*/ 272 h 400"/>
              <a:gd name="T58" fmla="*/ 128 w 640"/>
              <a:gd name="T59" fmla="*/ 176 h 400"/>
              <a:gd name="T60" fmla="*/ 162 w 640"/>
              <a:gd name="T61" fmla="*/ 182 h 400"/>
              <a:gd name="T62" fmla="*/ 100 w 640"/>
              <a:gd name="T63" fmla="*/ 288 h 400"/>
              <a:gd name="T64" fmla="*/ 223 w 640"/>
              <a:gd name="T65" fmla="*/ 288 h 400"/>
              <a:gd name="T66" fmla="*/ 128 w 640"/>
              <a:gd name="T67" fmla="*/ 368 h 400"/>
              <a:gd name="T68" fmla="*/ 223 w 640"/>
              <a:gd name="T69" fmla="*/ 256 h 400"/>
              <a:gd name="T70" fmla="*/ 156 w 640"/>
              <a:gd name="T71" fmla="*/ 256 h 400"/>
              <a:gd name="T72" fmla="*/ 190 w 640"/>
              <a:gd name="T73" fmla="*/ 198 h 400"/>
              <a:gd name="T74" fmla="*/ 223 w 640"/>
              <a:gd name="T75" fmla="*/ 256 h 400"/>
              <a:gd name="T76" fmla="*/ 255 w 640"/>
              <a:gd name="T77" fmla="*/ 256 h 400"/>
              <a:gd name="T78" fmla="*/ 206 w 640"/>
              <a:gd name="T79" fmla="*/ 170 h 400"/>
              <a:gd name="T80" fmla="*/ 236 w 640"/>
              <a:gd name="T81" fmla="*/ 119 h 400"/>
              <a:gd name="T82" fmla="*/ 295 w 640"/>
              <a:gd name="T83" fmla="*/ 255 h 400"/>
              <a:gd name="T84" fmla="*/ 295 w 640"/>
              <a:gd name="T85" fmla="*/ 256 h 400"/>
              <a:gd name="T86" fmla="*/ 255 w 640"/>
              <a:gd name="T87" fmla="*/ 256 h 400"/>
              <a:gd name="T88" fmla="*/ 315 w 640"/>
              <a:gd name="T89" fmla="*/ 221 h 400"/>
              <a:gd name="T90" fmla="*/ 261 w 640"/>
              <a:gd name="T91" fmla="*/ 96 h 400"/>
              <a:gd name="T92" fmla="*/ 389 w 640"/>
              <a:gd name="T93" fmla="*/ 96 h 400"/>
              <a:gd name="T94" fmla="*/ 315 w 640"/>
              <a:gd name="T95" fmla="*/ 221 h 400"/>
              <a:gd name="T96" fmla="*/ 512 w 640"/>
              <a:gd name="T97" fmla="*/ 368 h 400"/>
              <a:gd name="T98" fmla="*/ 416 w 640"/>
              <a:gd name="T99" fmla="*/ 272 h 400"/>
              <a:gd name="T100" fmla="*/ 455 w 640"/>
              <a:gd name="T101" fmla="*/ 195 h 400"/>
              <a:gd name="T102" fmla="*/ 498 w 640"/>
              <a:gd name="T103" fmla="*/ 279 h 400"/>
              <a:gd name="T104" fmla="*/ 526 w 640"/>
              <a:gd name="T105" fmla="*/ 265 h 400"/>
              <a:gd name="T106" fmla="*/ 484 w 640"/>
              <a:gd name="T107" fmla="*/ 180 h 400"/>
              <a:gd name="T108" fmla="*/ 512 w 640"/>
              <a:gd name="T109" fmla="*/ 176 h 400"/>
              <a:gd name="T110" fmla="*/ 608 w 640"/>
              <a:gd name="T111" fmla="*/ 272 h 400"/>
              <a:gd name="T112" fmla="*/ 512 w 640"/>
              <a:gd name="T113" fmla="*/ 368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0" h="400">
                <a:moveTo>
                  <a:pt x="512" y="144"/>
                </a:moveTo>
                <a:cubicBezTo>
                  <a:pt x="497" y="144"/>
                  <a:pt x="483" y="147"/>
                  <a:pt x="470" y="151"/>
                </a:cubicBezTo>
                <a:cubicBezTo>
                  <a:pt x="410" y="32"/>
                  <a:pt x="410" y="32"/>
                  <a:pt x="410" y="32"/>
                </a:cubicBezTo>
                <a:cubicBezTo>
                  <a:pt x="480" y="32"/>
                  <a:pt x="480" y="32"/>
                  <a:pt x="480" y="32"/>
                </a:cubicBezTo>
                <a:cubicBezTo>
                  <a:pt x="480" y="0"/>
                  <a:pt x="480" y="0"/>
                  <a:pt x="480" y="0"/>
                </a:cubicBezTo>
                <a:cubicBezTo>
                  <a:pt x="358" y="0"/>
                  <a:pt x="358" y="0"/>
                  <a:pt x="358" y="0"/>
                </a:cubicBezTo>
                <a:cubicBezTo>
                  <a:pt x="390" y="64"/>
                  <a:pt x="390" y="64"/>
                  <a:pt x="390" y="64"/>
                </a:cubicBezTo>
                <a:cubicBezTo>
                  <a:pt x="247" y="64"/>
                  <a:pt x="247" y="64"/>
                  <a:pt x="247" y="64"/>
                </a:cubicBezTo>
                <a:cubicBezTo>
                  <a:pt x="233" y="32"/>
                  <a:pt x="233" y="32"/>
                  <a:pt x="233" y="32"/>
                </a:cubicBezTo>
                <a:cubicBezTo>
                  <a:pt x="256" y="32"/>
                  <a:pt x="256" y="32"/>
                  <a:pt x="256" y="32"/>
                </a:cubicBezTo>
                <a:cubicBezTo>
                  <a:pt x="256" y="0"/>
                  <a:pt x="256" y="0"/>
                  <a:pt x="256" y="0"/>
                </a:cubicBezTo>
                <a:cubicBezTo>
                  <a:pt x="160" y="0"/>
                  <a:pt x="160" y="0"/>
                  <a:pt x="160" y="0"/>
                </a:cubicBezTo>
                <a:cubicBezTo>
                  <a:pt x="160" y="32"/>
                  <a:pt x="160" y="32"/>
                  <a:pt x="160" y="32"/>
                </a:cubicBezTo>
                <a:cubicBezTo>
                  <a:pt x="198" y="32"/>
                  <a:pt x="198" y="32"/>
                  <a:pt x="198" y="32"/>
                </a:cubicBezTo>
                <a:cubicBezTo>
                  <a:pt x="220" y="83"/>
                  <a:pt x="220" y="83"/>
                  <a:pt x="220" y="83"/>
                </a:cubicBezTo>
                <a:cubicBezTo>
                  <a:pt x="178" y="154"/>
                  <a:pt x="178" y="154"/>
                  <a:pt x="178" y="154"/>
                </a:cubicBezTo>
                <a:cubicBezTo>
                  <a:pt x="163" y="148"/>
                  <a:pt x="146" y="144"/>
                  <a:pt x="128" y="144"/>
                </a:cubicBezTo>
                <a:cubicBezTo>
                  <a:pt x="57" y="144"/>
                  <a:pt x="0" y="201"/>
                  <a:pt x="0" y="272"/>
                </a:cubicBezTo>
                <a:cubicBezTo>
                  <a:pt x="0" y="343"/>
                  <a:pt x="57" y="400"/>
                  <a:pt x="128" y="400"/>
                </a:cubicBezTo>
                <a:cubicBezTo>
                  <a:pt x="193" y="400"/>
                  <a:pt x="247" y="351"/>
                  <a:pt x="255" y="288"/>
                </a:cubicBezTo>
                <a:cubicBezTo>
                  <a:pt x="313" y="288"/>
                  <a:pt x="313" y="288"/>
                  <a:pt x="313" y="288"/>
                </a:cubicBezTo>
                <a:cubicBezTo>
                  <a:pt x="415" y="114"/>
                  <a:pt x="415" y="114"/>
                  <a:pt x="415" y="114"/>
                </a:cubicBezTo>
                <a:cubicBezTo>
                  <a:pt x="441" y="166"/>
                  <a:pt x="441" y="166"/>
                  <a:pt x="441" y="166"/>
                </a:cubicBezTo>
                <a:cubicBezTo>
                  <a:pt x="407" y="189"/>
                  <a:pt x="384" y="228"/>
                  <a:pt x="384" y="272"/>
                </a:cubicBezTo>
                <a:cubicBezTo>
                  <a:pt x="384" y="343"/>
                  <a:pt x="441" y="400"/>
                  <a:pt x="512" y="400"/>
                </a:cubicBezTo>
                <a:cubicBezTo>
                  <a:pt x="583" y="400"/>
                  <a:pt x="640" y="343"/>
                  <a:pt x="640" y="272"/>
                </a:cubicBezTo>
                <a:cubicBezTo>
                  <a:pt x="640" y="201"/>
                  <a:pt x="583" y="144"/>
                  <a:pt x="512" y="144"/>
                </a:cubicBezTo>
                <a:close/>
                <a:moveTo>
                  <a:pt x="128" y="368"/>
                </a:moveTo>
                <a:cubicBezTo>
                  <a:pt x="75" y="368"/>
                  <a:pt x="32" y="325"/>
                  <a:pt x="32" y="272"/>
                </a:cubicBezTo>
                <a:cubicBezTo>
                  <a:pt x="32" y="219"/>
                  <a:pt x="75" y="176"/>
                  <a:pt x="128" y="176"/>
                </a:cubicBezTo>
                <a:cubicBezTo>
                  <a:pt x="140" y="176"/>
                  <a:pt x="151" y="178"/>
                  <a:pt x="162" y="182"/>
                </a:cubicBezTo>
                <a:cubicBezTo>
                  <a:pt x="100" y="288"/>
                  <a:pt x="100" y="288"/>
                  <a:pt x="100" y="288"/>
                </a:cubicBezTo>
                <a:cubicBezTo>
                  <a:pt x="223" y="288"/>
                  <a:pt x="223" y="288"/>
                  <a:pt x="223" y="288"/>
                </a:cubicBezTo>
                <a:cubicBezTo>
                  <a:pt x="215" y="333"/>
                  <a:pt x="176" y="368"/>
                  <a:pt x="128" y="368"/>
                </a:cubicBezTo>
                <a:close/>
                <a:moveTo>
                  <a:pt x="223" y="256"/>
                </a:moveTo>
                <a:cubicBezTo>
                  <a:pt x="156" y="256"/>
                  <a:pt x="156" y="256"/>
                  <a:pt x="156" y="256"/>
                </a:cubicBezTo>
                <a:cubicBezTo>
                  <a:pt x="190" y="198"/>
                  <a:pt x="190" y="198"/>
                  <a:pt x="190" y="198"/>
                </a:cubicBezTo>
                <a:cubicBezTo>
                  <a:pt x="207" y="213"/>
                  <a:pt x="219" y="233"/>
                  <a:pt x="223" y="256"/>
                </a:cubicBezTo>
                <a:close/>
                <a:moveTo>
                  <a:pt x="255" y="256"/>
                </a:moveTo>
                <a:cubicBezTo>
                  <a:pt x="251" y="221"/>
                  <a:pt x="232" y="191"/>
                  <a:pt x="206" y="170"/>
                </a:cubicBezTo>
                <a:cubicBezTo>
                  <a:pt x="236" y="119"/>
                  <a:pt x="236" y="119"/>
                  <a:pt x="236" y="119"/>
                </a:cubicBezTo>
                <a:cubicBezTo>
                  <a:pt x="295" y="255"/>
                  <a:pt x="295" y="255"/>
                  <a:pt x="295" y="255"/>
                </a:cubicBezTo>
                <a:cubicBezTo>
                  <a:pt x="295" y="256"/>
                  <a:pt x="295" y="256"/>
                  <a:pt x="295" y="256"/>
                </a:cubicBezTo>
                <a:lnTo>
                  <a:pt x="255" y="256"/>
                </a:lnTo>
                <a:close/>
                <a:moveTo>
                  <a:pt x="315" y="221"/>
                </a:moveTo>
                <a:cubicBezTo>
                  <a:pt x="261" y="96"/>
                  <a:pt x="261" y="96"/>
                  <a:pt x="261" y="96"/>
                </a:cubicBezTo>
                <a:cubicBezTo>
                  <a:pt x="389" y="96"/>
                  <a:pt x="389" y="96"/>
                  <a:pt x="389" y="96"/>
                </a:cubicBezTo>
                <a:lnTo>
                  <a:pt x="315" y="221"/>
                </a:lnTo>
                <a:close/>
                <a:moveTo>
                  <a:pt x="512" y="368"/>
                </a:moveTo>
                <a:cubicBezTo>
                  <a:pt x="459" y="368"/>
                  <a:pt x="416" y="325"/>
                  <a:pt x="416" y="272"/>
                </a:cubicBezTo>
                <a:cubicBezTo>
                  <a:pt x="416" y="240"/>
                  <a:pt x="432" y="212"/>
                  <a:pt x="455" y="195"/>
                </a:cubicBezTo>
                <a:cubicBezTo>
                  <a:pt x="498" y="279"/>
                  <a:pt x="498" y="279"/>
                  <a:pt x="498" y="279"/>
                </a:cubicBezTo>
                <a:cubicBezTo>
                  <a:pt x="526" y="265"/>
                  <a:pt x="526" y="265"/>
                  <a:pt x="526" y="265"/>
                </a:cubicBezTo>
                <a:cubicBezTo>
                  <a:pt x="484" y="180"/>
                  <a:pt x="484" y="180"/>
                  <a:pt x="484" y="180"/>
                </a:cubicBezTo>
                <a:cubicBezTo>
                  <a:pt x="493" y="177"/>
                  <a:pt x="502" y="176"/>
                  <a:pt x="512" y="176"/>
                </a:cubicBezTo>
                <a:cubicBezTo>
                  <a:pt x="565" y="176"/>
                  <a:pt x="608" y="219"/>
                  <a:pt x="608" y="272"/>
                </a:cubicBezTo>
                <a:cubicBezTo>
                  <a:pt x="608" y="325"/>
                  <a:pt x="565" y="368"/>
                  <a:pt x="512" y="368"/>
                </a:cubicBez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nvGrpSpPr>
          <p:cNvPr id="134" name="Group 133"/>
          <p:cNvGrpSpPr/>
          <p:nvPr/>
        </p:nvGrpSpPr>
        <p:grpSpPr>
          <a:xfrm>
            <a:off x="10081877" y="5734697"/>
            <a:ext cx="280263" cy="412095"/>
            <a:chOff x="27449463" y="4532313"/>
            <a:chExt cx="938213" cy="1379537"/>
          </a:xfrm>
          <a:solidFill>
            <a:schemeClr val="bg1"/>
          </a:solidFill>
        </p:grpSpPr>
        <p:sp>
          <p:nvSpPr>
            <p:cNvPr id="135" name="Freeform 450"/>
            <p:cNvSpPr>
              <a:spLocks noEditPoints="1"/>
            </p:cNvSpPr>
            <p:nvPr>
              <p:custDataLst>
                <p:tags r:id="rId106"/>
              </p:custDataLst>
            </p:nvPr>
          </p:nvSpPr>
          <p:spPr bwMode="auto">
            <a:xfrm>
              <a:off x="27449463" y="5014913"/>
              <a:ext cx="938213" cy="896937"/>
            </a:xfrm>
            <a:custGeom>
              <a:avLst/>
              <a:gdLst>
                <a:gd name="T0" fmla="*/ 419 w 435"/>
                <a:gd name="T1" fmla="*/ 64 h 416"/>
                <a:gd name="T2" fmla="*/ 348 w 435"/>
                <a:gd name="T3" fmla="*/ 64 h 416"/>
                <a:gd name="T4" fmla="*/ 358 w 435"/>
                <a:gd name="T5" fmla="*/ 0 h 416"/>
                <a:gd name="T6" fmla="*/ 0 w 435"/>
                <a:gd name="T7" fmla="*/ 0 h 416"/>
                <a:gd name="T8" fmla="*/ 65 w 435"/>
                <a:gd name="T9" fmla="*/ 388 h 416"/>
                <a:gd name="T10" fmla="*/ 97 w 435"/>
                <a:gd name="T11" fmla="*/ 416 h 416"/>
                <a:gd name="T12" fmla="*/ 262 w 435"/>
                <a:gd name="T13" fmla="*/ 416 h 416"/>
                <a:gd name="T14" fmla="*/ 294 w 435"/>
                <a:gd name="T15" fmla="*/ 388 h 416"/>
                <a:gd name="T16" fmla="*/ 310 w 435"/>
                <a:gd name="T17" fmla="*/ 288 h 416"/>
                <a:gd name="T18" fmla="*/ 419 w 435"/>
                <a:gd name="T19" fmla="*/ 288 h 416"/>
                <a:gd name="T20" fmla="*/ 435 w 435"/>
                <a:gd name="T21" fmla="*/ 272 h 416"/>
                <a:gd name="T22" fmla="*/ 435 w 435"/>
                <a:gd name="T23" fmla="*/ 80 h 416"/>
                <a:gd name="T24" fmla="*/ 419 w 435"/>
                <a:gd name="T25" fmla="*/ 64 h 416"/>
                <a:gd name="T26" fmla="*/ 262 w 435"/>
                <a:gd name="T27" fmla="*/ 383 h 416"/>
                <a:gd name="T28" fmla="*/ 262 w 435"/>
                <a:gd name="T29" fmla="*/ 384 h 416"/>
                <a:gd name="T30" fmla="*/ 97 w 435"/>
                <a:gd name="T31" fmla="*/ 384 h 416"/>
                <a:gd name="T32" fmla="*/ 97 w 435"/>
                <a:gd name="T33" fmla="*/ 383 h 416"/>
                <a:gd name="T34" fmla="*/ 38 w 435"/>
                <a:gd name="T35" fmla="*/ 32 h 416"/>
                <a:gd name="T36" fmla="*/ 320 w 435"/>
                <a:gd name="T37" fmla="*/ 32 h 416"/>
                <a:gd name="T38" fmla="*/ 262 w 435"/>
                <a:gd name="T39" fmla="*/ 383 h 416"/>
                <a:gd name="T40" fmla="*/ 403 w 435"/>
                <a:gd name="T41" fmla="*/ 256 h 416"/>
                <a:gd name="T42" fmla="*/ 316 w 435"/>
                <a:gd name="T43" fmla="*/ 256 h 416"/>
                <a:gd name="T44" fmla="*/ 342 w 435"/>
                <a:gd name="T45" fmla="*/ 96 h 416"/>
                <a:gd name="T46" fmla="*/ 403 w 435"/>
                <a:gd name="T47" fmla="*/ 96 h 416"/>
                <a:gd name="T48" fmla="*/ 403 w 435"/>
                <a:gd name="T49" fmla="*/ 25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5" h="416">
                  <a:moveTo>
                    <a:pt x="419" y="64"/>
                  </a:moveTo>
                  <a:cubicBezTo>
                    <a:pt x="348" y="64"/>
                    <a:pt x="348" y="64"/>
                    <a:pt x="348" y="64"/>
                  </a:cubicBezTo>
                  <a:cubicBezTo>
                    <a:pt x="358" y="0"/>
                    <a:pt x="358" y="0"/>
                    <a:pt x="358" y="0"/>
                  </a:cubicBezTo>
                  <a:cubicBezTo>
                    <a:pt x="0" y="0"/>
                    <a:pt x="0" y="0"/>
                    <a:pt x="0" y="0"/>
                  </a:cubicBezTo>
                  <a:cubicBezTo>
                    <a:pt x="65" y="388"/>
                    <a:pt x="65" y="388"/>
                    <a:pt x="65" y="388"/>
                  </a:cubicBezTo>
                  <a:cubicBezTo>
                    <a:pt x="68" y="404"/>
                    <a:pt x="81" y="416"/>
                    <a:pt x="97" y="416"/>
                  </a:cubicBezTo>
                  <a:cubicBezTo>
                    <a:pt x="262" y="416"/>
                    <a:pt x="262" y="416"/>
                    <a:pt x="262" y="416"/>
                  </a:cubicBezTo>
                  <a:cubicBezTo>
                    <a:pt x="278" y="416"/>
                    <a:pt x="291" y="404"/>
                    <a:pt x="294" y="388"/>
                  </a:cubicBezTo>
                  <a:cubicBezTo>
                    <a:pt x="310" y="288"/>
                    <a:pt x="310" y="288"/>
                    <a:pt x="310" y="288"/>
                  </a:cubicBezTo>
                  <a:cubicBezTo>
                    <a:pt x="419" y="288"/>
                    <a:pt x="419" y="288"/>
                    <a:pt x="419" y="288"/>
                  </a:cubicBezTo>
                  <a:cubicBezTo>
                    <a:pt x="428" y="288"/>
                    <a:pt x="435" y="281"/>
                    <a:pt x="435" y="272"/>
                  </a:cubicBezTo>
                  <a:cubicBezTo>
                    <a:pt x="435" y="80"/>
                    <a:pt x="435" y="80"/>
                    <a:pt x="435" y="80"/>
                  </a:cubicBezTo>
                  <a:cubicBezTo>
                    <a:pt x="435" y="71"/>
                    <a:pt x="428" y="64"/>
                    <a:pt x="419" y="64"/>
                  </a:cubicBezTo>
                  <a:close/>
                  <a:moveTo>
                    <a:pt x="262" y="383"/>
                  </a:moveTo>
                  <a:cubicBezTo>
                    <a:pt x="262" y="384"/>
                    <a:pt x="262" y="384"/>
                    <a:pt x="262" y="384"/>
                  </a:cubicBezTo>
                  <a:cubicBezTo>
                    <a:pt x="97" y="384"/>
                    <a:pt x="97" y="384"/>
                    <a:pt x="97" y="384"/>
                  </a:cubicBezTo>
                  <a:cubicBezTo>
                    <a:pt x="97" y="384"/>
                    <a:pt x="97" y="384"/>
                    <a:pt x="97" y="383"/>
                  </a:cubicBezTo>
                  <a:cubicBezTo>
                    <a:pt x="38" y="32"/>
                    <a:pt x="38" y="32"/>
                    <a:pt x="38" y="32"/>
                  </a:cubicBezTo>
                  <a:cubicBezTo>
                    <a:pt x="320" y="32"/>
                    <a:pt x="320" y="32"/>
                    <a:pt x="320" y="32"/>
                  </a:cubicBezTo>
                  <a:lnTo>
                    <a:pt x="262" y="383"/>
                  </a:lnTo>
                  <a:close/>
                  <a:moveTo>
                    <a:pt x="403" y="256"/>
                  </a:moveTo>
                  <a:cubicBezTo>
                    <a:pt x="316" y="256"/>
                    <a:pt x="316" y="256"/>
                    <a:pt x="316" y="256"/>
                  </a:cubicBezTo>
                  <a:cubicBezTo>
                    <a:pt x="342" y="96"/>
                    <a:pt x="342" y="96"/>
                    <a:pt x="342" y="96"/>
                  </a:cubicBezTo>
                  <a:cubicBezTo>
                    <a:pt x="403" y="96"/>
                    <a:pt x="403" y="96"/>
                    <a:pt x="403" y="96"/>
                  </a:cubicBezTo>
                  <a:lnTo>
                    <a:pt x="403"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6" name="Freeform 460"/>
            <p:cNvSpPr>
              <a:spLocks/>
            </p:cNvSpPr>
            <p:nvPr>
              <p:custDataLst>
                <p:tags r:id="rId107"/>
              </p:custDataLst>
            </p:nvPr>
          </p:nvSpPr>
          <p:spPr bwMode="auto">
            <a:xfrm>
              <a:off x="27766963" y="4532313"/>
              <a:ext cx="138113" cy="414337"/>
            </a:xfrm>
            <a:custGeom>
              <a:avLst/>
              <a:gdLst>
                <a:gd name="T0" fmla="*/ 0 w 64"/>
                <a:gd name="T1" fmla="*/ 192 h 192"/>
                <a:gd name="T2" fmla="*/ 32 w 64"/>
                <a:gd name="T3" fmla="*/ 192 h 192"/>
                <a:gd name="T4" fmla="*/ 44 w 64"/>
                <a:gd name="T5" fmla="*/ 171 h 192"/>
                <a:gd name="T6" fmla="*/ 64 w 64"/>
                <a:gd name="T7" fmla="*/ 128 h 192"/>
                <a:gd name="T8" fmla="*/ 44 w 64"/>
                <a:gd name="T9" fmla="*/ 85 h 192"/>
                <a:gd name="T10" fmla="*/ 32 w 64"/>
                <a:gd name="T11" fmla="*/ 64 h 192"/>
                <a:gd name="T12" fmla="*/ 44 w 64"/>
                <a:gd name="T13" fmla="*/ 43 h 192"/>
                <a:gd name="T14" fmla="*/ 64 w 64"/>
                <a:gd name="T15" fmla="*/ 0 h 192"/>
                <a:gd name="T16" fmla="*/ 32 w 64"/>
                <a:gd name="T17" fmla="*/ 0 h 192"/>
                <a:gd name="T18" fmla="*/ 21 w 64"/>
                <a:gd name="T19" fmla="*/ 21 h 192"/>
                <a:gd name="T20" fmla="*/ 0 w 64"/>
                <a:gd name="T21" fmla="*/ 64 h 192"/>
                <a:gd name="T22" fmla="*/ 21 w 64"/>
                <a:gd name="T23" fmla="*/ 107 h 192"/>
                <a:gd name="T24" fmla="*/ 32 w 64"/>
                <a:gd name="T25" fmla="*/ 128 h 192"/>
                <a:gd name="T26" fmla="*/ 21 w 64"/>
                <a:gd name="T27" fmla="*/ 149 h 192"/>
                <a:gd name="T28" fmla="*/ 0 w 64"/>
                <a:gd name="T2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92">
                  <a:moveTo>
                    <a:pt x="0" y="192"/>
                  </a:moveTo>
                  <a:cubicBezTo>
                    <a:pt x="32" y="192"/>
                    <a:pt x="32" y="192"/>
                    <a:pt x="32" y="192"/>
                  </a:cubicBezTo>
                  <a:cubicBezTo>
                    <a:pt x="32" y="183"/>
                    <a:pt x="36" y="179"/>
                    <a:pt x="44" y="171"/>
                  </a:cubicBezTo>
                  <a:cubicBezTo>
                    <a:pt x="52" y="163"/>
                    <a:pt x="64" y="151"/>
                    <a:pt x="64" y="128"/>
                  </a:cubicBezTo>
                  <a:cubicBezTo>
                    <a:pt x="64" y="105"/>
                    <a:pt x="52" y="93"/>
                    <a:pt x="44" y="85"/>
                  </a:cubicBezTo>
                  <a:cubicBezTo>
                    <a:pt x="36" y="77"/>
                    <a:pt x="32" y="73"/>
                    <a:pt x="32" y="64"/>
                  </a:cubicBezTo>
                  <a:cubicBezTo>
                    <a:pt x="32" y="55"/>
                    <a:pt x="36" y="51"/>
                    <a:pt x="44" y="43"/>
                  </a:cubicBezTo>
                  <a:cubicBezTo>
                    <a:pt x="52" y="35"/>
                    <a:pt x="64" y="23"/>
                    <a:pt x="64" y="0"/>
                  </a:cubicBezTo>
                  <a:cubicBezTo>
                    <a:pt x="32" y="0"/>
                    <a:pt x="32" y="0"/>
                    <a:pt x="32" y="0"/>
                  </a:cubicBezTo>
                  <a:cubicBezTo>
                    <a:pt x="32" y="9"/>
                    <a:pt x="29" y="13"/>
                    <a:pt x="21" y="21"/>
                  </a:cubicBezTo>
                  <a:cubicBezTo>
                    <a:pt x="12" y="29"/>
                    <a:pt x="0" y="41"/>
                    <a:pt x="0" y="64"/>
                  </a:cubicBezTo>
                  <a:cubicBezTo>
                    <a:pt x="0" y="87"/>
                    <a:pt x="12" y="99"/>
                    <a:pt x="21" y="107"/>
                  </a:cubicBezTo>
                  <a:cubicBezTo>
                    <a:pt x="29" y="115"/>
                    <a:pt x="32" y="119"/>
                    <a:pt x="32" y="128"/>
                  </a:cubicBezTo>
                  <a:cubicBezTo>
                    <a:pt x="32" y="137"/>
                    <a:pt x="29" y="141"/>
                    <a:pt x="21" y="149"/>
                  </a:cubicBezTo>
                  <a:cubicBezTo>
                    <a:pt x="12" y="157"/>
                    <a:pt x="0" y="169"/>
                    <a:pt x="0"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7" name="Freeform 470"/>
            <p:cNvSpPr>
              <a:spLocks/>
            </p:cNvSpPr>
            <p:nvPr>
              <p:custDataLst>
                <p:tags r:id="rId108"/>
              </p:custDataLst>
            </p:nvPr>
          </p:nvSpPr>
          <p:spPr bwMode="auto">
            <a:xfrm>
              <a:off x="28008263" y="4532313"/>
              <a:ext cx="138113" cy="414337"/>
            </a:xfrm>
            <a:custGeom>
              <a:avLst/>
              <a:gdLst>
                <a:gd name="T0" fmla="*/ 0 w 64"/>
                <a:gd name="T1" fmla="*/ 192 h 192"/>
                <a:gd name="T2" fmla="*/ 32 w 64"/>
                <a:gd name="T3" fmla="*/ 192 h 192"/>
                <a:gd name="T4" fmla="*/ 44 w 64"/>
                <a:gd name="T5" fmla="*/ 171 h 192"/>
                <a:gd name="T6" fmla="*/ 64 w 64"/>
                <a:gd name="T7" fmla="*/ 128 h 192"/>
                <a:gd name="T8" fmla="*/ 44 w 64"/>
                <a:gd name="T9" fmla="*/ 85 h 192"/>
                <a:gd name="T10" fmla="*/ 32 w 64"/>
                <a:gd name="T11" fmla="*/ 64 h 192"/>
                <a:gd name="T12" fmla="*/ 44 w 64"/>
                <a:gd name="T13" fmla="*/ 43 h 192"/>
                <a:gd name="T14" fmla="*/ 64 w 64"/>
                <a:gd name="T15" fmla="*/ 0 h 192"/>
                <a:gd name="T16" fmla="*/ 32 w 64"/>
                <a:gd name="T17" fmla="*/ 0 h 192"/>
                <a:gd name="T18" fmla="*/ 21 w 64"/>
                <a:gd name="T19" fmla="*/ 21 h 192"/>
                <a:gd name="T20" fmla="*/ 0 w 64"/>
                <a:gd name="T21" fmla="*/ 64 h 192"/>
                <a:gd name="T22" fmla="*/ 21 w 64"/>
                <a:gd name="T23" fmla="*/ 107 h 192"/>
                <a:gd name="T24" fmla="*/ 32 w 64"/>
                <a:gd name="T25" fmla="*/ 128 h 192"/>
                <a:gd name="T26" fmla="*/ 21 w 64"/>
                <a:gd name="T27" fmla="*/ 149 h 192"/>
                <a:gd name="T28" fmla="*/ 0 w 64"/>
                <a:gd name="T2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92">
                  <a:moveTo>
                    <a:pt x="0" y="192"/>
                  </a:moveTo>
                  <a:cubicBezTo>
                    <a:pt x="32" y="192"/>
                    <a:pt x="32" y="192"/>
                    <a:pt x="32" y="192"/>
                  </a:cubicBezTo>
                  <a:cubicBezTo>
                    <a:pt x="32" y="183"/>
                    <a:pt x="36" y="179"/>
                    <a:pt x="44" y="171"/>
                  </a:cubicBezTo>
                  <a:cubicBezTo>
                    <a:pt x="52" y="163"/>
                    <a:pt x="64" y="151"/>
                    <a:pt x="64" y="128"/>
                  </a:cubicBezTo>
                  <a:cubicBezTo>
                    <a:pt x="64" y="105"/>
                    <a:pt x="52" y="93"/>
                    <a:pt x="44" y="85"/>
                  </a:cubicBezTo>
                  <a:cubicBezTo>
                    <a:pt x="36" y="77"/>
                    <a:pt x="32" y="73"/>
                    <a:pt x="32" y="64"/>
                  </a:cubicBezTo>
                  <a:cubicBezTo>
                    <a:pt x="32" y="55"/>
                    <a:pt x="36" y="51"/>
                    <a:pt x="44" y="43"/>
                  </a:cubicBezTo>
                  <a:cubicBezTo>
                    <a:pt x="52" y="35"/>
                    <a:pt x="64" y="23"/>
                    <a:pt x="64" y="0"/>
                  </a:cubicBezTo>
                  <a:cubicBezTo>
                    <a:pt x="32" y="0"/>
                    <a:pt x="32" y="0"/>
                    <a:pt x="32" y="0"/>
                  </a:cubicBezTo>
                  <a:cubicBezTo>
                    <a:pt x="32" y="9"/>
                    <a:pt x="29" y="13"/>
                    <a:pt x="21" y="21"/>
                  </a:cubicBezTo>
                  <a:cubicBezTo>
                    <a:pt x="12" y="29"/>
                    <a:pt x="0" y="41"/>
                    <a:pt x="0" y="64"/>
                  </a:cubicBezTo>
                  <a:cubicBezTo>
                    <a:pt x="0" y="87"/>
                    <a:pt x="12" y="99"/>
                    <a:pt x="21" y="107"/>
                  </a:cubicBezTo>
                  <a:cubicBezTo>
                    <a:pt x="29" y="115"/>
                    <a:pt x="32" y="119"/>
                    <a:pt x="32" y="128"/>
                  </a:cubicBezTo>
                  <a:cubicBezTo>
                    <a:pt x="32" y="137"/>
                    <a:pt x="29" y="141"/>
                    <a:pt x="21" y="149"/>
                  </a:cubicBezTo>
                  <a:cubicBezTo>
                    <a:pt x="12" y="157"/>
                    <a:pt x="0" y="169"/>
                    <a:pt x="0"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8" name="Freeform 480"/>
            <p:cNvSpPr>
              <a:spLocks/>
            </p:cNvSpPr>
            <p:nvPr>
              <p:custDataLst>
                <p:tags r:id="rId109"/>
              </p:custDataLst>
            </p:nvPr>
          </p:nvSpPr>
          <p:spPr bwMode="auto">
            <a:xfrm>
              <a:off x="27525663" y="4532313"/>
              <a:ext cx="138113" cy="414337"/>
            </a:xfrm>
            <a:custGeom>
              <a:avLst/>
              <a:gdLst>
                <a:gd name="T0" fmla="*/ 0 w 64"/>
                <a:gd name="T1" fmla="*/ 192 h 192"/>
                <a:gd name="T2" fmla="*/ 32 w 64"/>
                <a:gd name="T3" fmla="*/ 192 h 192"/>
                <a:gd name="T4" fmla="*/ 44 w 64"/>
                <a:gd name="T5" fmla="*/ 171 h 192"/>
                <a:gd name="T6" fmla="*/ 64 w 64"/>
                <a:gd name="T7" fmla="*/ 128 h 192"/>
                <a:gd name="T8" fmla="*/ 44 w 64"/>
                <a:gd name="T9" fmla="*/ 85 h 192"/>
                <a:gd name="T10" fmla="*/ 32 w 64"/>
                <a:gd name="T11" fmla="*/ 64 h 192"/>
                <a:gd name="T12" fmla="*/ 44 w 64"/>
                <a:gd name="T13" fmla="*/ 43 h 192"/>
                <a:gd name="T14" fmla="*/ 64 w 64"/>
                <a:gd name="T15" fmla="*/ 0 h 192"/>
                <a:gd name="T16" fmla="*/ 32 w 64"/>
                <a:gd name="T17" fmla="*/ 0 h 192"/>
                <a:gd name="T18" fmla="*/ 21 w 64"/>
                <a:gd name="T19" fmla="*/ 21 h 192"/>
                <a:gd name="T20" fmla="*/ 0 w 64"/>
                <a:gd name="T21" fmla="*/ 64 h 192"/>
                <a:gd name="T22" fmla="*/ 21 w 64"/>
                <a:gd name="T23" fmla="*/ 107 h 192"/>
                <a:gd name="T24" fmla="*/ 32 w 64"/>
                <a:gd name="T25" fmla="*/ 128 h 192"/>
                <a:gd name="T26" fmla="*/ 21 w 64"/>
                <a:gd name="T27" fmla="*/ 149 h 192"/>
                <a:gd name="T28" fmla="*/ 0 w 64"/>
                <a:gd name="T2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92">
                  <a:moveTo>
                    <a:pt x="0" y="192"/>
                  </a:moveTo>
                  <a:cubicBezTo>
                    <a:pt x="32" y="192"/>
                    <a:pt x="32" y="192"/>
                    <a:pt x="32" y="192"/>
                  </a:cubicBezTo>
                  <a:cubicBezTo>
                    <a:pt x="32" y="183"/>
                    <a:pt x="36" y="179"/>
                    <a:pt x="44" y="171"/>
                  </a:cubicBezTo>
                  <a:cubicBezTo>
                    <a:pt x="52" y="163"/>
                    <a:pt x="64" y="151"/>
                    <a:pt x="64" y="128"/>
                  </a:cubicBezTo>
                  <a:cubicBezTo>
                    <a:pt x="64" y="105"/>
                    <a:pt x="52" y="93"/>
                    <a:pt x="44" y="85"/>
                  </a:cubicBezTo>
                  <a:cubicBezTo>
                    <a:pt x="36" y="77"/>
                    <a:pt x="32" y="73"/>
                    <a:pt x="32" y="64"/>
                  </a:cubicBezTo>
                  <a:cubicBezTo>
                    <a:pt x="32" y="55"/>
                    <a:pt x="36" y="51"/>
                    <a:pt x="44" y="43"/>
                  </a:cubicBezTo>
                  <a:cubicBezTo>
                    <a:pt x="52" y="35"/>
                    <a:pt x="64" y="23"/>
                    <a:pt x="64" y="0"/>
                  </a:cubicBezTo>
                  <a:cubicBezTo>
                    <a:pt x="32" y="0"/>
                    <a:pt x="32" y="0"/>
                    <a:pt x="32" y="0"/>
                  </a:cubicBezTo>
                  <a:cubicBezTo>
                    <a:pt x="32" y="9"/>
                    <a:pt x="29" y="13"/>
                    <a:pt x="21" y="21"/>
                  </a:cubicBezTo>
                  <a:cubicBezTo>
                    <a:pt x="12" y="29"/>
                    <a:pt x="0" y="41"/>
                    <a:pt x="0" y="64"/>
                  </a:cubicBezTo>
                  <a:cubicBezTo>
                    <a:pt x="0" y="87"/>
                    <a:pt x="12" y="99"/>
                    <a:pt x="21" y="107"/>
                  </a:cubicBezTo>
                  <a:cubicBezTo>
                    <a:pt x="29" y="115"/>
                    <a:pt x="32" y="119"/>
                    <a:pt x="32" y="128"/>
                  </a:cubicBezTo>
                  <a:cubicBezTo>
                    <a:pt x="32" y="137"/>
                    <a:pt x="29" y="141"/>
                    <a:pt x="21" y="149"/>
                  </a:cubicBezTo>
                  <a:cubicBezTo>
                    <a:pt x="12" y="157"/>
                    <a:pt x="0" y="169"/>
                    <a:pt x="0"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sp>
        <p:nvSpPr>
          <p:cNvPr id="139" name="Freeform 171"/>
          <p:cNvSpPr>
            <a:spLocks noEditPoints="1"/>
          </p:cNvSpPr>
          <p:nvPr>
            <p:custDataLst>
              <p:tags r:id="rId98"/>
            </p:custDataLst>
          </p:nvPr>
        </p:nvSpPr>
        <p:spPr bwMode="auto">
          <a:xfrm>
            <a:off x="3118064" y="3973164"/>
            <a:ext cx="241802" cy="297388"/>
          </a:xfrm>
          <a:custGeom>
            <a:avLst/>
            <a:gdLst>
              <a:gd name="T0" fmla="*/ 348 w 696"/>
              <a:gd name="T1" fmla="*/ 0 h 856"/>
              <a:gd name="T2" fmla="*/ 0 w 696"/>
              <a:gd name="T3" fmla="*/ 348 h 856"/>
              <a:gd name="T4" fmla="*/ 0 w 696"/>
              <a:gd name="T5" fmla="*/ 856 h 856"/>
              <a:gd name="T6" fmla="*/ 228 w 696"/>
              <a:gd name="T7" fmla="*/ 856 h 856"/>
              <a:gd name="T8" fmla="*/ 468 w 696"/>
              <a:gd name="T9" fmla="*/ 856 h 856"/>
              <a:gd name="T10" fmla="*/ 696 w 696"/>
              <a:gd name="T11" fmla="*/ 856 h 856"/>
              <a:gd name="T12" fmla="*/ 696 w 696"/>
              <a:gd name="T13" fmla="*/ 348 h 856"/>
              <a:gd name="T14" fmla="*/ 348 w 696"/>
              <a:gd name="T15" fmla="*/ 0 h 856"/>
              <a:gd name="T16" fmla="*/ 272 w 696"/>
              <a:gd name="T17" fmla="*/ 813 h 856"/>
              <a:gd name="T18" fmla="*/ 272 w 696"/>
              <a:gd name="T19" fmla="*/ 552 h 856"/>
              <a:gd name="T20" fmla="*/ 424 w 696"/>
              <a:gd name="T21" fmla="*/ 552 h 856"/>
              <a:gd name="T22" fmla="*/ 424 w 696"/>
              <a:gd name="T23" fmla="*/ 813 h 856"/>
              <a:gd name="T24" fmla="*/ 272 w 696"/>
              <a:gd name="T25" fmla="*/ 813 h 856"/>
              <a:gd name="T26" fmla="*/ 653 w 696"/>
              <a:gd name="T27" fmla="*/ 813 h 856"/>
              <a:gd name="T28" fmla="*/ 468 w 696"/>
              <a:gd name="T29" fmla="*/ 813 h 856"/>
              <a:gd name="T30" fmla="*/ 468 w 696"/>
              <a:gd name="T31" fmla="*/ 508 h 856"/>
              <a:gd name="T32" fmla="*/ 228 w 696"/>
              <a:gd name="T33" fmla="*/ 508 h 856"/>
              <a:gd name="T34" fmla="*/ 228 w 696"/>
              <a:gd name="T35" fmla="*/ 813 h 856"/>
              <a:gd name="T36" fmla="*/ 43 w 696"/>
              <a:gd name="T37" fmla="*/ 813 h 856"/>
              <a:gd name="T38" fmla="*/ 43 w 696"/>
              <a:gd name="T39" fmla="*/ 366 h 856"/>
              <a:gd name="T40" fmla="*/ 348 w 696"/>
              <a:gd name="T41" fmla="*/ 61 h 856"/>
              <a:gd name="T42" fmla="*/ 653 w 696"/>
              <a:gd name="T43" fmla="*/ 366 h 856"/>
              <a:gd name="T44" fmla="*/ 653 w 696"/>
              <a:gd name="T45" fmla="*/ 81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96" h="856">
                <a:moveTo>
                  <a:pt x="348" y="0"/>
                </a:moveTo>
                <a:lnTo>
                  <a:pt x="0" y="348"/>
                </a:lnTo>
                <a:lnTo>
                  <a:pt x="0" y="856"/>
                </a:lnTo>
                <a:lnTo>
                  <a:pt x="228" y="856"/>
                </a:lnTo>
                <a:lnTo>
                  <a:pt x="468" y="856"/>
                </a:lnTo>
                <a:lnTo>
                  <a:pt x="696" y="856"/>
                </a:lnTo>
                <a:lnTo>
                  <a:pt x="696" y="348"/>
                </a:lnTo>
                <a:lnTo>
                  <a:pt x="348" y="0"/>
                </a:lnTo>
                <a:close/>
                <a:moveTo>
                  <a:pt x="272" y="813"/>
                </a:moveTo>
                <a:lnTo>
                  <a:pt x="272" y="552"/>
                </a:lnTo>
                <a:lnTo>
                  <a:pt x="424" y="552"/>
                </a:lnTo>
                <a:lnTo>
                  <a:pt x="424" y="813"/>
                </a:lnTo>
                <a:lnTo>
                  <a:pt x="272" y="813"/>
                </a:lnTo>
                <a:close/>
                <a:moveTo>
                  <a:pt x="653" y="813"/>
                </a:moveTo>
                <a:lnTo>
                  <a:pt x="468" y="813"/>
                </a:lnTo>
                <a:lnTo>
                  <a:pt x="468" y="508"/>
                </a:lnTo>
                <a:lnTo>
                  <a:pt x="228" y="508"/>
                </a:lnTo>
                <a:lnTo>
                  <a:pt x="228" y="813"/>
                </a:lnTo>
                <a:lnTo>
                  <a:pt x="43" y="813"/>
                </a:lnTo>
                <a:lnTo>
                  <a:pt x="43" y="366"/>
                </a:lnTo>
                <a:lnTo>
                  <a:pt x="348" y="61"/>
                </a:lnTo>
                <a:lnTo>
                  <a:pt x="653" y="366"/>
                </a:lnTo>
                <a:lnTo>
                  <a:pt x="653" y="813"/>
                </a:ln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nvGrpSpPr>
          <p:cNvPr id="140" name="Group 139"/>
          <p:cNvGrpSpPr/>
          <p:nvPr/>
        </p:nvGrpSpPr>
        <p:grpSpPr>
          <a:xfrm>
            <a:off x="7897071" y="2117006"/>
            <a:ext cx="353515" cy="297610"/>
            <a:chOff x="2043113" y="4562475"/>
            <a:chExt cx="1365250" cy="1149350"/>
          </a:xfrm>
          <a:solidFill>
            <a:schemeClr val="bg1"/>
          </a:solidFill>
        </p:grpSpPr>
        <p:sp>
          <p:nvSpPr>
            <p:cNvPr id="141" name="Freeform 1690"/>
            <p:cNvSpPr>
              <a:spLocks/>
            </p:cNvSpPr>
            <p:nvPr>
              <p:custDataLst>
                <p:tags r:id="rId102"/>
              </p:custDataLst>
            </p:nvPr>
          </p:nvSpPr>
          <p:spPr bwMode="auto">
            <a:xfrm>
              <a:off x="2433638" y="5208588"/>
              <a:ext cx="584200" cy="169862"/>
            </a:xfrm>
            <a:custGeom>
              <a:avLst/>
              <a:gdLst>
                <a:gd name="T0" fmla="*/ 248 w 271"/>
                <a:gd name="T1" fmla="*/ 79 h 79"/>
                <a:gd name="T2" fmla="*/ 135 w 271"/>
                <a:gd name="T3" fmla="*/ 32 h 79"/>
                <a:gd name="T4" fmla="*/ 22 w 271"/>
                <a:gd name="T5" fmla="*/ 79 h 79"/>
                <a:gd name="T6" fmla="*/ 0 w 271"/>
                <a:gd name="T7" fmla="*/ 56 h 79"/>
                <a:gd name="T8" fmla="*/ 135 w 271"/>
                <a:gd name="T9" fmla="*/ 0 h 79"/>
                <a:gd name="T10" fmla="*/ 271 w 271"/>
                <a:gd name="T11" fmla="*/ 56 h 79"/>
                <a:gd name="T12" fmla="*/ 248 w 271"/>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271" h="79">
                  <a:moveTo>
                    <a:pt x="248" y="79"/>
                  </a:moveTo>
                  <a:cubicBezTo>
                    <a:pt x="218" y="49"/>
                    <a:pt x="178" y="32"/>
                    <a:pt x="135" y="32"/>
                  </a:cubicBezTo>
                  <a:cubicBezTo>
                    <a:pt x="93" y="32"/>
                    <a:pt x="52" y="49"/>
                    <a:pt x="22" y="79"/>
                  </a:cubicBezTo>
                  <a:cubicBezTo>
                    <a:pt x="0" y="56"/>
                    <a:pt x="0" y="56"/>
                    <a:pt x="0" y="56"/>
                  </a:cubicBezTo>
                  <a:cubicBezTo>
                    <a:pt x="36" y="20"/>
                    <a:pt x="84" y="0"/>
                    <a:pt x="135" y="0"/>
                  </a:cubicBezTo>
                  <a:cubicBezTo>
                    <a:pt x="187" y="0"/>
                    <a:pt x="235" y="20"/>
                    <a:pt x="271" y="56"/>
                  </a:cubicBezTo>
                  <a:lnTo>
                    <a:pt x="248"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42" name="Freeform 170"/>
            <p:cNvSpPr>
              <a:spLocks/>
            </p:cNvSpPr>
            <p:nvPr>
              <p:custDataLst>
                <p:tags r:id="rId103"/>
              </p:custDataLst>
            </p:nvPr>
          </p:nvSpPr>
          <p:spPr bwMode="auto">
            <a:xfrm>
              <a:off x="2236788" y="4864100"/>
              <a:ext cx="977900" cy="317500"/>
            </a:xfrm>
            <a:custGeom>
              <a:avLst/>
              <a:gdLst>
                <a:gd name="T0" fmla="*/ 430 w 453"/>
                <a:gd name="T1" fmla="*/ 147 h 147"/>
                <a:gd name="T2" fmla="*/ 23 w 453"/>
                <a:gd name="T3" fmla="*/ 147 h 147"/>
                <a:gd name="T4" fmla="*/ 0 w 453"/>
                <a:gd name="T5" fmla="*/ 125 h 147"/>
                <a:gd name="T6" fmla="*/ 453 w 453"/>
                <a:gd name="T7" fmla="*/ 125 h 147"/>
                <a:gd name="T8" fmla="*/ 430 w 453"/>
                <a:gd name="T9" fmla="*/ 147 h 147"/>
              </a:gdLst>
              <a:ahLst/>
              <a:cxnLst>
                <a:cxn ang="0">
                  <a:pos x="T0" y="T1"/>
                </a:cxn>
                <a:cxn ang="0">
                  <a:pos x="T2" y="T3"/>
                </a:cxn>
                <a:cxn ang="0">
                  <a:pos x="T4" y="T5"/>
                </a:cxn>
                <a:cxn ang="0">
                  <a:pos x="T6" y="T7"/>
                </a:cxn>
                <a:cxn ang="0">
                  <a:pos x="T8" y="T9"/>
                </a:cxn>
              </a:cxnLst>
              <a:rect l="0" t="0" r="r" b="b"/>
              <a:pathLst>
                <a:path w="453" h="147">
                  <a:moveTo>
                    <a:pt x="430" y="147"/>
                  </a:moveTo>
                  <a:cubicBezTo>
                    <a:pt x="318" y="35"/>
                    <a:pt x="135" y="35"/>
                    <a:pt x="23" y="147"/>
                  </a:cubicBezTo>
                  <a:cubicBezTo>
                    <a:pt x="0" y="125"/>
                    <a:pt x="0" y="125"/>
                    <a:pt x="0" y="125"/>
                  </a:cubicBezTo>
                  <a:cubicBezTo>
                    <a:pt x="125" y="0"/>
                    <a:pt x="328" y="0"/>
                    <a:pt x="453" y="125"/>
                  </a:cubicBezTo>
                  <a:lnTo>
                    <a:pt x="430"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43" name="Freeform 1710"/>
            <p:cNvSpPr>
              <a:spLocks/>
            </p:cNvSpPr>
            <p:nvPr>
              <p:custDataLst>
                <p:tags r:id="rId104"/>
              </p:custDataLst>
            </p:nvPr>
          </p:nvSpPr>
          <p:spPr bwMode="auto">
            <a:xfrm>
              <a:off x="2043113" y="4562475"/>
              <a:ext cx="1365250" cy="425450"/>
            </a:xfrm>
            <a:custGeom>
              <a:avLst/>
              <a:gdLst>
                <a:gd name="T0" fmla="*/ 610 w 633"/>
                <a:gd name="T1" fmla="*/ 197 h 197"/>
                <a:gd name="T2" fmla="*/ 22 w 633"/>
                <a:gd name="T3" fmla="*/ 197 h 197"/>
                <a:gd name="T4" fmla="*/ 0 w 633"/>
                <a:gd name="T5" fmla="*/ 174 h 197"/>
                <a:gd name="T6" fmla="*/ 633 w 633"/>
                <a:gd name="T7" fmla="*/ 174 h 197"/>
                <a:gd name="T8" fmla="*/ 610 w 633"/>
                <a:gd name="T9" fmla="*/ 197 h 197"/>
              </a:gdLst>
              <a:ahLst/>
              <a:cxnLst>
                <a:cxn ang="0">
                  <a:pos x="T0" y="T1"/>
                </a:cxn>
                <a:cxn ang="0">
                  <a:pos x="T2" y="T3"/>
                </a:cxn>
                <a:cxn ang="0">
                  <a:pos x="T4" y="T5"/>
                </a:cxn>
                <a:cxn ang="0">
                  <a:pos x="T6" y="T7"/>
                </a:cxn>
                <a:cxn ang="0">
                  <a:pos x="T8" y="T9"/>
                </a:cxn>
              </a:cxnLst>
              <a:rect l="0" t="0" r="r" b="b"/>
              <a:pathLst>
                <a:path w="633" h="197">
                  <a:moveTo>
                    <a:pt x="610" y="197"/>
                  </a:moveTo>
                  <a:cubicBezTo>
                    <a:pt x="448" y="35"/>
                    <a:pt x="184" y="35"/>
                    <a:pt x="22" y="197"/>
                  </a:cubicBezTo>
                  <a:cubicBezTo>
                    <a:pt x="0" y="174"/>
                    <a:pt x="0" y="174"/>
                    <a:pt x="0" y="174"/>
                  </a:cubicBezTo>
                  <a:cubicBezTo>
                    <a:pt x="174" y="0"/>
                    <a:pt x="458" y="0"/>
                    <a:pt x="633" y="174"/>
                  </a:cubicBezTo>
                  <a:lnTo>
                    <a:pt x="610"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44" name="Oval 172"/>
            <p:cNvSpPr>
              <a:spLocks noChangeArrowheads="1"/>
            </p:cNvSpPr>
            <p:nvPr>
              <p:custDataLst>
                <p:tags r:id="rId105"/>
              </p:custDataLst>
            </p:nvPr>
          </p:nvSpPr>
          <p:spPr bwMode="auto">
            <a:xfrm>
              <a:off x="2628900" y="5516563"/>
              <a:ext cx="192087" cy="195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sp>
        <p:nvSpPr>
          <p:cNvPr id="145" name="Freeform 46"/>
          <p:cNvSpPr>
            <a:spLocks noEditPoints="1"/>
          </p:cNvSpPr>
          <p:nvPr>
            <p:custDataLst>
              <p:tags r:id="rId99"/>
            </p:custDataLst>
          </p:nvPr>
        </p:nvSpPr>
        <p:spPr bwMode="auto">
          <a:xfrm>
            <a:off x="10574035" y="3107678"/>
            <a:ext cx="306730" cy="230224"/>
          </a:xfrm>
          <a:custGeom>
            <a:avLst/>
            <a:gdLst>
              <a:gd name="T0" fmla="*/ 592 w 640"/>
              <a:gd name="T1" fmla="*/ 331 h 480"/>
              <a:gd name="T2" fmla="*/ 592 w 640"/>
              <a:gd name="T3" fmla="*/ 48 h 480"/>
              <a:gd name="T4" fmla="*/ 544 w 640"/>
              <a:gd name="T5" fmla="*/ 0 h 480"/>
              <a:gd name="T6" fmla="*/ 96 w 640"/>
              <a:gd name="T7" fmla="*/ 0 h 480"/>
              <a:gd name="T8" fmla="*/ 48 w 640"/>
              <a:gd name="T9" fmla="*/ 48 h 480"/>
              <a:gd name="T10" fmla="*/ 48 w 640"/>
              <a:gd name="T11" fmla="*/ 331 h 480"/>
              <a:gd name="T12" fmla="*/ 0 w 640"/>
              <a:gd name="T13" fmla="*/ 395 h 480"/>
              <a:gd name="T14" fmla="*/ 0 w 640"/>
              <a:gd name="T15" fmla="*/ 432 h 480"/>
              <a:gd name="T16" fmla="*/ 48 w 640"/>
              <a:gd name="T17" fmla="*/ 480 h 480"/>
              <a:gd name="T18" fmla="*/ 592 w 640"/>
              <a:gd name="T19" fmla="*/ 480 h 480"/>
              <a:gd name="T20" fmla="*/ 640 w 640"/>
              <a:gd name="T21" fmla="*/ 432 h 480"/>
              <a:gd name="T22" fmla="*/ 640 w 640"/>
              <a:gd name="T23" fmla="*/ 395 h 480"/>
              <a:gd name="T24" fmla="*/ 592 w 640"/>
              <a:gd name="T25" fmla="*/ 331 h 480"/>
              <a:gd name="T26" fmla="*/ 96 w 640"/>
              <a:gd name="T27" fmla="*/ 32 h 480"/>
              <a:gd name="T28" fmla="*/ 544 w 640"/>
              <a:gd name="T29" fmla="*/ 32 h 480"/>
              <a:gd name="T30" fmla="*/ 560 w 640"/>
              <a:gd name="T31" fmla="*/ 48 h 480"/>
              <a:gd name="T32" fmla="*/ 560 w 640"/>
              <a:gd name="T33" fmla="*/ 320 h 480"/>
              <a:gd name="T34" fmla="*/ 80 w 640"/>
              <a:gd name="T35" fmla="*/ 320 h 480"/>
              <a:gd name="T36" fmla="*/ 80 w 640"/>
              <a:gd name="T37" fmla="*/ 48 h 480"/>
              <a:gd name="T38" fmla="*/ 96 w 640"/>
              <a:gd name="T39" fmla="*/ 32 h 480"/>
              <a:gd name="T40" fmla="*/ 72 w 640"/>
              <a:gd name="T41" fmla="*/ 352 h 480"/>
              <a:gd name="T42" fmla="*/ 568 w 640"/>
              <a:gd name="T43" fmla="*/ 352 h 480"/>
              <a:gd name="T44" fmla="*/ 592 w 640"/>
              <a:gd name="T45" fmla="*/ 384 h 480"/>
              <a:gd name="T46" fmla="*/ 48 w 640"/>
              <a:gd name="T47" fmla="*/ 384 h 480"/>
              <a:gd name="T48" fmla="*/ 72 w 640"/>
              <a:gd name="T49" fmla="*/ 352 h 480"/>
              <a:gd name="T50" fmla="*/ 592 w 640"/>
              <a:gd name="T51" fmla="*/ 448 h 480"/>
              <a:gd name="T52" fmla="*/ 48 w 640"/>
              <a:gd name="T53" fmla="*/ 448 h 480"/>
              <a:gd name="T54" fmla="*/ 32 w 640"/>
              <a:gd name="T55" fmla="*/ 432 h 480"/>
              <a:gd name="T56" fmla="*/ 32 w 640"/>
              <a:gd name="T57" fmla="*/ 416 h 480"/>
              <a:gd name="T58" fmla="*/ 608 w 640"/>
              <a:gd name="T59" fmla="*/ 416 h 480"/>
              <a:gd name="T60" fmla="*/ 608 w 640"/>
              <a:gd name="T61" fmla="*/ 432 h 480"/>
              <a:gd name="T62" fmla="*/ 592 w 640"/>
              <a:gd name="T63" fmla="*/ 448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0" h="480">
                <a:moveTo>
                  <a:pt x="592" y="331"/>
                </a:moveTo>
                <a:cubicBezTo>
                  <a:pt x="592" y="48"/>
                  <a:pt x="592" y="48"/>
                  <a:pt x="592" y="48"/>
                </a:cubicBezTo>
                <a:cubicBezTo>
                  <a:pt x="592" y="22"/>
                  <a:pt x="571" y="0"/>
                  <a:pt x="544" y="0"/>
                </a:cubicBezTo>
                <a:cubicBezTo>
                  <a:pt x="96" y="0"/>
                  <a:pt x="96" y="0"/>
                  <a:pt x="96" y="0"/>
                </a:cubicBezTo>
                <a:cubicBezTo>
                  <a:pt x="70" y="0"/>
                  <a:pt x="48" y="22"/>
                  <a:pt x="48" y="48"/>
                </a:cubicBezTo>
                <a:cubicBezTo>
                  <a:pt x="48" y="331"/>
                  <a:pt x="48" y="331"/>
                  <a:pt x="48" y="331"/>
                </a:cubicBezTo>
                <a:cubicBezTo>
                  <a:pt x="0" y="395"/>
                  <a:pt x="0" y="395"/>
                  <a:pt x="0" y="395"/>
                </a:cubicBezTo>
                <a:cubicBezTo>
                  <a:pt x="0" y="432"/>
                  <a:pt x="0" y="432"/>
                  <a:pt x="0" y="432"/>
                </a:cubicBezTo>
                <a:cubicBezTo>
                  <a:pt x="0" y="459"/>
                  <a:pt x="22" y="480"/>
                  <a:pt x="48" y="480"/>
                </a:cubicBezTo>
                <a:cubicBezTo>
                  <a:pt x="592" y="480"/>
                  <a:pt x="592" y="480"/>
                  <a:pt x="592" y="480"/>
                </a:cubicBezTo>
                <a:cubicBezTo>
                  <a:pt x="619" y="480"/>
                  <a:pt x="640" y="459"/>
                  <a:pt x="640" y="432"/>
                </a:cubicBezTo>
                <a:cubicBezTo>
                  <a:pt x="640" y="395"/>
                  <a:pt x="640" y="395"/>
                  <a:pt x="640" y="395"/>
                </a:cubicBezTo>
                <a:lnTo>
                  <a:pt x="592" y="331"/>
                </a:lnTo>
                <a:close/>
                <a:moveTo>
                  <a:pt x="96" y="32"/>
                </a:moveTo>
                <a:cubicBezTo>
                  <a:pt x="544" y="32"/>
                  <a:pt x="544" y="32"/>
                  <a:pt x="544" y="32"/>
                </a:cubicBezTo>
                <a:cubicBezTo>
                  <a:pt x="553" y="32"/>
                  <a:pt x="560" y="40"/>
                  <a:pt x="560" y="48"/>
                </a:cubicBezTo>
                <a:cubicBezTo>
                  <a:pt x="560" y="320"/>
                  <a:pt x="560" y="320"/>
                  <a:pt x="560" y="320"/>
                </a:cubicBezTo>
                <a:cubicBezTo>
                  <a:pt x="80" y="320"/>
                  <a:pt x="80" y="320"/>
                  <a:pt x="80" y="320"/>
                </a:cubicBezTo>
                <a:cubicBezTo>
                  <a:pt x="80" y="48"/>
                  <a:pt x="80" y="48"/>
                  <a:pt x="80" y="48"/>
                </a:cubicBezTo>
                <a:cubicBezTo>
                  <a:pt x="80" y="40"/>
                  <a:pt x="88" y="32"/>
                  <a:pt x="96" y="32"/>
                </a:cubicBezTo>
                <a:close/>
                <a:moveTo>
                  <a:pt x="72" y="352"/>
                </a:moveTo>
                <a:cubicBezTo>
                  <a:pt x="568" y="352"/>
                  <a:pt x="568" y="352"/>
                  <a:pt x="568" y="352"/>
                </a:cubicBezTo>
                <a:cubicBezTo>
                  <a:pt x="592" y="384"/>
                  <a:pt x="592" y="384"/>
                  <a:pt x="592" y="384"/>
                </a:cubicBezTo>
                <a:cubicBezTo>
                  <a:pt x="48" y="384"/>
                  <a:pt x="48" y="384"/>
                  <a:pt x="48" y="384"/>
                </a:cubicBezTo>
                <a:lnTo>
                  <a:pt x="72" y="352"/>
                </a:lnTo>
                <a:close/>
                <a:moveTo>
                  <a:pt x="592" y="448"/>
                </a:moveTo>
                <a:cubicBezTo>
                  <a:pt x="48" y="448"/>
                  <a:pt x="48" y="448"/>
                  <a:pt x="48" y="448"/>
                </a:cubicBezTo>
                <a:cubicBezTo>
                  <a:pt x="40" y="448"/>
                  <a:pt x="32" y="441"/>
                  <a:pt x="32" y="432"/>
                </a:cubicBezTo>
                <a:cubicBezTo>
                  <a:pt x="32" y="416"/>
                  <a:pt x="32" y="416"/>
                  <a:pt x="32" y="416"/>
                </a:cubicBezTo>
                <a:cubicBezTo>
                  <a:pt x="608" y="416"/>
                  <a:pt x="608" y="416"/>
                  <a:pt x="608" y="416"/>
                </a:cubicBezTo>
                <a:cubicBezTo>
                  <a:pt x="608" y="432"/>
                  <a:pt x="608" y="432"/>
                  <a:pt x="608" y="432"/>
                </a:cubicBezTo>
                <a:cubicBezTo>
                  <a:pt x="608" y="441"/>
                  <a:pt x="601" y="448"/>
                  <a:pt x="592" y="448"/>
                </a:cubicBez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nvGrpSpPr>
          <p:cNvPr id="146" name="Group 117"/>
          <p:cNvGrpSpPr>
            <a:grpSpLocks noChangeAspect="1"/>
          </p:cNvGrpSpPr>
          <p:nvPr/>
        </p:nvGrpSpPr>
        <p:grpSpPr bwMode="auto">
          <a:xfrm>
            <a:off x="5139616" y="267164"/>
            <a:ext cx="329804" cy="254065"/>
            <a:chOff x="2809" y="1443"/>
            <a:chExt cx="1302" cy="1003"/>
          </a:xfrm>
          <a:solidFill>
            <a:schemeClr val="bg1"/>
          </a:solidFill>
        </p:grpSpPr>
        <p:sp>
          <p:nvSpPr>
            <p:cNvPr id="147" name="Freeform 118"/>
            <p:cNvSpPr>
              <a:spLocks noEditPoints="1"/>
            </p:cNvSpPr>
            <p:nvPr/>
          </p:nvSpPr>
          <p:spPr bwMode="auto">
            <a:xfrm>
              <a:off x="2809" y="2252"/>
              <a:ext cx="937" cy="194"/>
            </a:xfrm>
            <a:custGeom>
              <a:avLst/>
              <a:gdLst>
                <a:gd name="T0" fmla="*/ 416 w 464"/>
                <a:gd name="T1" fmla="*/ 0 h 96"/>
                <a:gd name="T2" fmla="*/ 48 w 464"/>
                <a:gd name="T3" fmla="*/ 0 h 96"/>
                <a:gd name="T4" fmla="*/ 0 w 464"/>
                <a:gd name="T5" fmla="*/ 48 h 96"/>
                <a:gd name="T6" fmla="*/ 48 w 464"/>
                <a:gd name="T7" fmla="*/ 96 h 96"/>
                <a:gd name="T8" fmla="*/ 416 w 464"/>
                <a:gd name="T9" fmla="*/ 96 h 96"/>
                <a:gd name="T10" fmla="*/ 464 w 464"/>
                <a:gd name="T11" fmla="*/ 48 h 96"/>
                <a:gd name="T12" fmla="*/ 416 w 464"/>
                <a:gd name="T13" fmla="*/ 0 h 96"/>
                <a:gd name="T14" fmla="*/ 416 w 464"/>
                <a:gd name="T15" fmla="*/ 64 h 96"/>
                <a:gd name="T16" fmla="*/ 48 w 464"/>
                <a:gd name="T17" fmla="*/ 64 h 96"/>
                <a:gd name="T18" fmla="*/ 32 w 464"/>
                <a:gd name="T19" fmla="*/ 48 h 96"/>
                <a:gd name="T20" fmla="*/ 48 w 464"/>
                <a:gd name="T21" fmla="*/ 32 h 96"/>
                <a:gd name="T22" fmla="*/ 416 w 464"/>
                <a:gd name="T23" fmla="*/ 32 h 96"/>
                <a:gd name="T24" fmla="*/ 432 w 464"/>
                <a:gd name="T25" fmla="*/ 48 h 96"/>
                <a:gd name="T26" fmla="*/ 416 w 464"/>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4" h="96">
                  <a:moveTo>
                    <a:pt x="416" y="0"/>
                  </a:moveTo>
                  <a:cubicBezTo>
                    <a:pt x="48" y="0"/>
                    <a:pt x="48" y="0"/>
                    <a:pt x="48" y="0"/>
                  </a:cubicBezTo>
                  <a:cubicBezTo>
                    <a:pt x="22" y="0"/>
                    <a:pt x="0" y="22"/>
                    <a:pt x="0" y="48"/>
                  </a:cubicBezTo>
                  <a:cubicBezTo>
                    <a:pt x="0" y="74"/>
                    <a:pt x="22" y="96"/>
                    <a:pt x="48" y="96"/>
                  </a:cubicBezTo>
                  <a:cubicBezTo>
                    <a:pt x="416" y="96"/>
                    <a:pt x="416" y="96"/>
                    <a:pt x="416" y="96"/>
                  </a:cubicBezTo>
                  <a:cubicBezTo>
                    <a:pt x="442" y="96"/>
                    <a:pt x="464" y="74"/>
                    <a:pt x="464" y="48"/>
                  </a:cubicBezTo>
                  <a:cubicBezTo>
                    <a:pt x="464" y="22"/>
                    <a:pt x="442" y="0"/>
                    <a:pt x="416" y="0"/>
                  </a:cubicBezTo>
                  <a:close/>
                  <a:moveTo>
                    <a:pt x="416" y="64"/>
                  </a:moveTo>
                  <a:cubicBezTo>
                    <a:pt x="48" y="64"/>
                    <a:pt x="48" y="64"/>
                    <a:pt x="48" y="64"/>
                  </a:cubicBezTo>
                  <a:cubicBezTo>
                    <a:pt x="39" y="64"/>
                    <a:pt x="32" y="57"/>
                    <a:pt x="32" y="48"/>
                  </a:cubicBezTo>
                  <a:cubicBezTo>
                    <a:pt x="32" y="39"/>
                    <a:pt x="39" y="32"/>
                    <a:pt x="48" y="32"/>
                  </a:cubicBezTo>
                  <a:cubicBezTo>
                    <a:pt x="416" y="32"/>
                    <a:pt x="416" y="32"/>
                    <a:pt x="416" y="32"/>
                  </a:cubicBezTo>
                  <a:cubicBezTo>
                    <a:pt x="425" y="32"/>
                    <a:pt x="432" y="39"/>
                    <a:pt x="432" y="48"/>
                  </a:cubicBezTo>
                  <a:cubicBezTo>
                    <a:pt x="432" y="57"/>
                    <a:pt x="425" y="64"/>
                    <a:pt x="416"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48" name="Freeform 119"/>
            <p:cNvSpPr>
              <a:spLocks noEditPoints="1"/>
            </p:cNvSpPr>
            <p:nvPr/>
          </p:nvSpPr>
          <p:spPr bwMode="auto">
            <a:xfrm>
              <a:off x="2874" y="1443"/>
              <a:ext cx="1237" cy="777"/>
            </a:xfrm>
            <a:custGeom>
              <a:avLst/>
              <a:gdLst>
                <a:gd name="T0" fmla="*/ 592 w 613"/>
                <a:gd name="T1" fmla="*/ 265 h 384"/>
                <a:gd name="T2" fmla="*/ 605 w 613"/>
                <a:gd name="T3" fmla="*/ 59 h 384"/>
                <a:gd name="T4" fmla="*/ 590 w 613"/>
                <a:gd name="T5" fmla="*/ 18 h 384"/>
                <a:gd name="T6" fmla="*/ 549 w 613"/>
                <a:gd name="T7" fmla="*/ 0 h 384"/>
                <a:gd name="T8" fmla="*/ 532 w 613"/>
                <a:gd name="T9" fmla="*/ 0 h 384"/>
                <a:gd name="T10" fmla="*/ 530 w 613"/>
                <a:gd name="T11" fmla="*/ 0 h 384"/>
                <a:gd name="T12" fmla="*/ 525 w 613"/>
                <a:gd name="T13" fmla="*/ 0 h 384"/>
                <a:gd name="T14" fmla="*/ 330 w 613"/>
                <a:gd name="T15" fmla="*/ 44 h 384"/>
                <a:gd name="T16" fmla="*/ 272 w 613"/>
                <a:gd name="T17" fmla="*/ 32 h 384"/>
                <a:gd name="T18" fmla="*/ 185 w 613"/>
                <a:gd name="T19" fmla="*/ 32 h 384"/>
                <a:gd name="T20" fmla="*/ 160 w 613"/>
                <a:gd name="T21" fmla="*/ 57 h 384"/>
                <a:gd name="T22" fmla="*/ 160 w 613"/>
                <a:gd name="T23" fmla="*/ 128 h 384"/>
                <a:gd name="T24" fmla="*/ 59 w 613"/>
                <a:gd name="T25" fmla="*/ 128 h 384"/>
                <a:gd name="T26" fmla="*/ 0 w 613"/>
                <a:gd name="T27" fmla="*/ 167 h 384"/>
                <a:gd name="T28" fmla="*/ 0 w 613"/>
                <a:gd name="T29" fmla="*/ 368 h 384"/>
                <a:gd name="T30" fmla="*/ 400 w 613"/>
                <a:gd name="T31" fmla="*/ 368 h 384"/>
                <a:gd name="T32" fmla="*/ 400 w 613"/>
                <a:gd name="T33" fmla="*/ 176 h 384"/>
                <a:gd name="T34" fmla="*/ 394 w 613"/>
                <a:gd name="T35" fmla="*/ 126 h 384"/>
                <a:gd name="T36" fmla="*/ 507 w 613"/>
                <a:gd name="T37" fmla="*/ 101 h 384"/>
                <a:gd name="T38" fmla="*/ 497 w 613"/>
                <a:gd name="T39" fmla="*/ 256 h 384"/>
                <a:gd name="T40" fmla="*/ 484 w 613"/>
                <a:gd name="T41" fmla="*/ 256 h 384"/>
                <a:gd name="T42" fmla="*/ 442 w 613"/>
                <a:gd name="T43" fmla="*/ 384 h 384"/>
                <a:gd name="T44" fmla="*/ 528 w 613"/>
                <a:gd name="T45" fmla="*/ 384 h 384"/>
                <a:gd name="T46" fmla="*/ 604 w 613"/>
                <a:gd name="T47" fmla="*/ 328 h 384"/>
                <a:gd name="T48" fmla="*/ 592 w 613"/>
                <a:gd name="T49" fmla="*/ 265 h 384"/>
                <a:gd name="T50" fmla="*/ 368 w 613"/>
                <a:gd name="T51" fmla="*/ 336 h 384"/>
                <a:gd name="T52" fmla="*/ 32 w 613"/>
                <a:gd name="T53" fmla="*/ 336 h 384"/>
                <a:gd name="T54" fmla="*/ 32 w 613"/>
                <a:gd name="T55" fmla="*/ 185 h 384"/>
                <a:gd name="T56" fmla="*/ 69 w 613"/>
                <a:gd name="T57" fmla="*/ 160 h 384"/>
                <a:gd name="T58" fmla="*/ 192 w 613"/>
                <a:gd name="T59" fmla="*/ 160 h 384"/>
                <a:gd name="T60" fmla="*/ 192 w 613"/>
                <a:gd name="T61" fmla="*/ 71 h 384"/>
                <a:gd name="T62" fmla="*/ 199 w 613"/>
                <a:gd name="T63" fmla="*/ 64 h 384"/>
                <a:gd name="T64" fmla="*/ 240 w 613"/>
                <a:gd name="T65" fmla="*/ 64 h 384"/>
                <a:gd name="T66" fmla="*/ 240 w 613"/>
                <a:gd name="T67" fmla="*/ 208 h 384"/>
                <a:gd name="T68" fmla="*/ 368 w 613"/>
                <a:gd name="T69" fmla="*/ 208 h 384"/>
                <a:gd name="T70" fmla="*/ 368 w 613"/>
                <a:gd name="T71" fmla="*/ 336 h 384"/>
                <a:gd name="T72" fmla="*/ 272 w 613"/>
                <a:gd name="T73" fmla="*/ 176 h 384"/>
                <a:gd name="T74" fmla="*/ 272 w 613"/>
                <a:gd name="T75" fmla="*/ 64 h 384"/>
                <a:gd name="T76" fmla="*/ 368 w 613"/>
                <a:gd name="T77" fmla="*/ 176 h 384"/>
                <a:gd name="T78" fmla="*/ 272 w 613"/>
                <a:gd name="T79" fmla="*/ 176 h 384"/>
                <a:gd name="T80" fmla="*/ 382 w 613"/>
                <a:gd name="T81" fmla="*/ 96 h 384"/>
                <a:gd name="T82" fmla="*/ 364 w 613"/>
                <a:gd name="T83" fmla="*/ 69 h 384"/>
                <a:gd name="T84" fmla="*/ 511 w 613"/>
                <a:gd name="T85" fmla="*/ 36 h 384"/>
                <a:gd name="T86" fmla="*/ 509 w 613"/>
                <a:gd name="T87" fmla="*/ 68 h 384"/>
                <a:gd name="T88" fmla="*/ 382 w 613"/>
                <a:gd name="T89" fmla="*/ 96 h 384"/>
                <a:gd name="T90" fmla="*/ 543 w 613"/>
                <a:gd name="T91" fmla="*/ 32 h 384"/>
                <a:gd name="T92" fmla="*/ 549 w 613"/>
                <a:gd name="T93" fmla="*/ 32 h 384"/>
                <a:gd name="T94" fmla="*/ 567 w 613"/>
                <a:gd name="T95" fmla="*/ 40 h 384"/>
                <a:gd name="T96" fmla="*/ 573 w 613"/>
                <a:gd name="T97" fmla="*/ 57 h 384"/>
                <a:gd name="T98" fmla="*/ 561 w 613"/>
                <a:gd name="T99" fmla="*/ 256 h 384"/>
                <a:gd name="T100" fmla="*/ 529 w 613"/>
                <a:gd name="T101" fmla="*/ 256 h 384"/>
                <a:gd name="T102" fmla="*/ 543 w 613"/>
                <a:gd name="T103" fmla="*/ 32 h 384"/>
                <a:gd name="T104" fmla="*/ 574 w 613"/>
                <a:gd name="T105" fmla="*/ 317 h 384"/>
                <a:gd name="T106" fmla="*/ 528 w 613"/>
                <a:gd name="T107" fmla="*/ 352 h 384"/>
                <a:gd name="T108" fmla="*/ 486 w 613"/>
                <a:gd name="T109" fmla="*/ 352 h 384"/>
                <a:gd name="T110" fmla="*/ 508 w 613"/>
                <a:gd name="T111" fmla="*/ 288 h 384"/>
                <a:gd name="T112" fmla="*/ 570 w 613"/>
                <a:gd name="T113" fmla="*/ 288 h 384"/>
                <a:gd name="T114" fmla="*/ 574 w 613"/>
                <a:gd name="T115" fmla="*/ 31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3" h="384">
                  <a:moveTo>
                    <a:pt x="592" y="265"/>
                  </a:moveTo>
                  <a:cubicBezTo>
                    <a:pt x="605" y="59"/>
                    <a:pt x="605" y="59"/>
                    <a:pt x="605" y="59"/>
                  </a:cubicBezTo>
                  <a:cubicBezTo>
                    <a:pt x="606" y="44"/>
                    <a:pt x="601" y="29"/>
                    <a:pt x="590" y="18"/>
                  </a:cubicBezTo>
                  <a:cubicBezTo>
                    <a:pt x="580" y="6"/>
                    <a:pt x="565" y="0"/>
                    <a:pt x="549" y="0"/>
                  </a:cubicBezTo>
                  <a:cubicBezTo>
                    <a:pt x="532" y="0"/>
                    <a:pt x="532" y="0"/>
                    <a:pt x="532" y="0"/>
                  </a:cubicBezTo>
                  <a:cubicBezTo>
                    <a:pt x="531" y="0"/>
                    <a:pt x="531" y="0"/>
                    <a:pt x="530" y="0"/>
                  </a:cubicBezTo>
                  <a:cubicBezTo>
                    <a:pt x="528" y="0"/>
                    <a:pt x="526" y="0"/>
                    <a:pt x="525" y="0"/>
                  </a:cubicBezTo>
                  <a:cubicBezTo>
                    <a:pt x="330" y="44"/>
                    <a:pt x="330" y="44"/>
                    <a:pt x="330" y="44"/>
                  </a:cubicBezTo>
                  <a:cubicBezTo>
                    <a:pt x="314" y="36"/>
                    <a:pt x="295" y="32"/>
                    <a:pt x="272" y="32"/>
                  </a:cubicBezTo>
                  <a:cubicBezTo>
                    <a:pt x="185" y="32"/>
                    <a:pt x="185" y="32"/>
                    <a:pt x="185" y="32"/>
                  </a:cubicBezTo>
                  <a:cubicBezTo>
                    <a:pt x="160" y="57"/>
                    <a:pt x="160" y="57"/>
                    <a:pt x="160" y="57"/>
                  </a:cubicBezTo>
                  <a:cubicBezTo>
                    <a:pt x="160" y="128"/>
                    <a:pt x="160" y="128"/>
                    <a:pt x="160" y="128"/>
                  </a:cubicBezTo>
                  <a:cubicBezTo>
                    <a:pt x="59" y="128"/>
                    <a:pt x="59" y="128"/>
                    <a:pt x="59" y="128"/>
                  </a:cubicBezTo>
                  <a:cubicBezTo>
                    <a:pt x="0" y="167"/>
                    <a:pt x="0" y="167"/>
                    <a:pt x="0" y="167"/>
                  </a:cubicBezTo>
                  <a:cubicBezTo>
                    <a:pt x="0" y="368"/>
                    <a:pt x="0" y="368"/>
                    <a:pt x="0" y="368"/>
                  </a:cubicBezTo>
                  <a:cubicBezTo>
                    <a:pt x="400" y="368"/>
                    <a:pt x="400" y="368"/>
                    <a:pt x="400" y="368"/>
                  </a:cubicBezTo>
                  <a:cubicBezTo>
                    <a:pt x="400" y="176"/>
                    <a:pt x="400" y="176"/>
                    <a:pt x="400" y="176"/>
                  </a:cubicBezTo>
                  <a:cubicBezTo>
                    <a:pt x="400" y="159"/>
                    <a:pt x="398" y="142"/>
                    <a:pt x="394" y="126"/>
                  </a:cubicBezTo>
                  <a:cubicBezTo>
                    <a:pt x="507" y="101"/>
                    <a:pt x="507" y="101"/>
                    <a:pt x="507" y="101"/>
                  </a:cubicBezTo>
                  <a:cubicBezTo>
                    <a:pt x="497" y="256"/>
                    <a:pt x="497" y="256"/>
                    <a:pt x="497" y="256"/>
                  </a:cubicBezTo>
                  <a:cubicBezTo>
                    <a:pt x="484" y="256"/>
                    <a:pt x="484" y="256"/>
                    <a:pt x="484" y="256"/>
                  </a:cubicBezTo>
                  <a:cubicBezTo>
                    <a:pt x="442" y="384"/>
                    <a:pt x="442" y="384"/>
                    <a:pt x="442" y="384"/>
                  </a:cubicBezTo>
                  <a:cubicBezTo>
                    <a:pt x="528" y="384"/>
                    <a:pt x="528" y="384"/>
                    <a:pt x="528" y="384"/>
                  </a:cubicBezTo>
                  <a:cubicBezTo>
                    <a:pt x="561" y="384"/>
                    <a:pt x="593" y="360"/>
                    <a:pt x="604" y="328"/>
                  </a:cubicBezTo>
                  <a:cubicBezTo>
                    <a:pt x="613" y="305"/>
                    <a:pt x="608" y="282"/>
                    <a:pt x="592" y="265"/>
                  </a:cubicBezTo>
                  <a:close/>
                  <a:moveTo>
                    <a:pt x="368" y="336"/>
                  </a:moveTo>
                  <a:cubicBezTo>
                    <a:pt x="32" y="336"/>
                    <a:pt x="32" y="336"/>
                    <a:pt x="32" y="336"/>
                  </a:cubicBezTo>
                  <a:cubicBezTo>
                    <a:pt x="32" y="185"/>
                    <a:pt x="32" y="185"/>
                    <a:pt x="32" y="185"/>
                  </a:cubicBezTo>
                  <a:cubicBezTo>
                    <a:pt x="69" y="160"/>
                    <a:pt x="69" y="160"/>
                    <a:pt x="69" y="160"/>
                  </a:cubicBezTo>
                  <a:cubicBezTo>
                    <a:pt x="192" y="160"/>
                    <a:pt x="192" y="160"/>
                    <a:pt x="192" y="160"/>
                  </a:cubicBezTo>
                  <a:cubicBezTo>
                    <a:pt x="192" y="71"/>
                    <a:pt x="192" y="71"/>
                    <a:pt x="192" y="71"/>
                  </a:cubicBezTo>
                  <a:cubicBezTo>
                    <a:pt x="199" y="64"/>
                    <a:pt x="199" y="64"/>
                    <a:pt x="199" y="64"/>
                  </a:cubicBezTo>
                  <a:cubicBezTo>
                    <a:pt x="240" y="64"/>
                    <a:pt x="240" y="64"/>
                    <a:pt x="240" y="64"/>
                  </a:cubicBezTo>
                  <a:cubicBezTo>
                    <a:pt x="240" y="208"/>
                    <a:pt x="240" y="208"/>
                    <a:pt x="240" y="208"/>
                  </a:cubicBezTo>
                  <a:cubicBezTo>
                    <a:pt x="368" y="208"/>
                    <a:pt x="368" y="208"/>
                    <a:pt x="368" y="208"/>
                  </a:cubicBezTo>
                  <a:lnTo>
                    <a:pt x="368" y="336"/>
                  </a:lnTo>
                  <a:close/>
                  <a:moveTo>
                    <a:pt x="272" y="176"/>
                  </a:moveTo>
                  <a:cubicBezTo>
                    <a:pt x="272" y="64"/>
                    <a:pt x="272" y="64"/>
                    <a:pt x="272" y="64"/>
                  </a:cubicBezTo>
                  <a:cubicBezTo>
                    <a:pt x="359" y="64"/>
                    <a:pt x="368" y="142"/>
                    <a:pt x="368" y="176"/>
                  </a:cubicBezTo>
                  <a:lnTo>
                    <a:pt x="272" y="176"/>
                  </a:lnTo>
                  <a:close/>
                  <a:moveTo>
                    <a:pt x="382" y="96"/>
                  </a:moveTo>
                  <a:cubicBezTo>
                    <a:pt x="377" y="86"/>
                    <a:pt x="371" y="77"/>
                    <a:pt x="364" y="69"/>
                  </a:cubicBezTo>
                  <a:cubicBezTo>
                    <a:pt x="511" y="36"/>
                    <a:pt x="511" y="36"/>
                    <a:pt x="511" y="36"/>
                  </a:cubicBezTo>
                  <a:cubicBezTo>
                    <a:pt x="509" y="68"/>
                    <a:pt x="509" y="68"/>
                    <a:pt x="509" y="68"/>
                  </a:cubicBezTo>
                  <a:lnTo>
                    <a:pt x="382" y="96"/>
                  </a:lnTo>
                  <a:close/>
                  <a:moveTo>
                    <a:pt x="543" y="32"/>
                  </a:moveTo>
                  <a:cubicBezTo>
                    <a:pt x="549" y="32"/>
                    <a:pt x="549" y="32"/>
                    <a:pt x="549" y="32"/>
                  </a:cubicBezTo>
                  <a:cubicBezTo>
                    <a:pt x="556" y="32"/>
                    <a:pt x="562" y="35"/>
                    <a:pt x="567" y="40"/>
                  </a:cubicBezTo>
                  <a:cubicBezTo>
                    <a:pt x="571" y="44"/>
                    <a:pt x="574" y="51"/>
                    <a:pt x="573" y="57"/>
                  </a:cubicBezTo>
                  <a:cubicBezTo>
                    <a:pt x="561" y="256"/>
                    <a:pt x="561" y="256"/>
                    <a:pt x="561" y="256"/>
                  </a:cubicBezTo>
                  <a:cubicBezTo>
                    <a:pt x="529" y="256"/>
                    <a:pt x="529" y="256"/>
                    <a:pt x="529" y="256"/>
                  </a:cubicBezTo>
                  <a:lnTo>
                    <a:pt x="543" y="32"/>
                  </a:lnTo>
                  <a:close/>
                  <a:moveTo>
                    <a:pt x="574" y="317"/>
                  </a:moveTo>
                  <a:cubicBezTo>
                    <a:pt x="568" y="334"/>
                    <a:pt x="549" y="352"/>
                    <a:pt x="528" y="352"/>
                  </a:cubicBezTo>
                  <a:cubicBezTo>
                    <a:pt x="486" y="352"/>
                    <a:pt x="486" y="352"/>
                    <a:pt x="486" y="352"/>
                  </a:cubicBezTo>
                  <a:cubicBezTo>
                    <a:pt x="508" y="288"/>
                    <a:pt x="508" y="288"/>
                    <a:pt x="508" y="288"/>
                  </a:cubicBezTo>
                  <a:cubicBezTo>
                    <a:pt x="570" y="288"/>
                    <a:pt x="570" y="288"/>
                    <a:pt x="570" y="288"/>
                  </a:cubicBezTo>
                  <a:cubicBezTo>
                    <a:pt x="578" y="298"/>
                    <a:pt x="577" y="309"/>
                    <a:pt x="574"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sp>
        <p:nvSpPr>
          <p:cNvPr id="4" name="Rectangle 3"/>
          <p:cNvSpPr/>
          <p:nvPr>
            <p:custDataLst>
              <p:tags r:id="rId100"/>
            </p:custDataLst>
          </p:nvPr>
        </p:nvSpPr>
        <p:spPr>
          <a:xfrm>
            <a:off x="196" y="1997819"/>
            <a:ext cx="9944823" cy="2229103"/>
          </a:xfrm>
          <a:prstGeom prst="rect">
            <a:avLst/>
          </a:prstGeom>
          <a:solidFill>
            <a:schemeClr val="bg1">
              <a:alpha val="85000"/>
            </a:schemeClr>
          </a:solidFill>
          <a:ln w="9525" cap="flat" cmpd="sng" algn="ctr">
            <a:noFill/>
            <a:prstDash val="solid"/>
          </a:ln>
          <a:effectLst/>
        </p:spPr>
        <p:txBody>
          <a:bodyPr lIns="304878" tIns="304878" rIns="304878" bIns="304878" rtlCol="0" anchor="ctr">
            <a:noAutofit/>
          </a:bodyPr>
          <a:lstStyle/>
          <a:p>
            <a:r>
              <a:rPr lang="en-US" sz="3112" kern="0" dirty="0">
                <a:ln w="6350">
                  <a:noFill/>
                </a:ln>
                <a:solidFill>
                  <a:prstClr val="black">
                    <a:lumMod val="65000"/>
                    <a:lumOff val="35000"/>
                  </a:prstClr>
                </a:solidFill>
              </a:rPr>
              <a:t>ROBERT BOSCH ENGINEERING AND BUSINESS SOLUTIONS PVT. LTD</a:t>
            </a:r>
          </a:p>
          <a:p>
            <a:pPr>
              <a:lnSpc>
                <a:spcPts val="2556"/>
              </a:lnSpc>
            </a:pPr>
            <a:r>
              <a:rPr lang="en-US" sz="2001" b="1" kern="0" dirty="0">
                <a:ln w="6350">
                  <a:noFill/>
                </a:ln>
                <a:solidFill>
                  <a:srgbClr val="0E78C5"/>
                </a:solidFill>
              </a:rPr>
              <a:t>Transformation through </a:t>
            </a:r>
            <a:r>
              <a:rPr lang="en-US" sz="2001" b="1" kern="0" dirty="0" smtClean="0">
                <a:ln w="6350">
                  <a:noFill/>
                </a:ln>
                <a:solidFill>
                  <a:srgbClr val="0E78C5"/>
                </a:solidFill>
              </a:rPr>
              <a:t>Sensors</a:t>
            </a:r>
            <a:r>
              <a:rPr lang="en-US" sz="2001" b="1" kern="0" dirty="0">
                <a:ln w="6350">
                  <a:noFill/>
                </a:ln>
                <a:solidFill>
                  <a:srgbClr val="0E78C5"/>
                </a:solidFill>
              </a:rPr>
              <a:t>, Software and Services</a:t>
            </a:r>
          </a:p>
          <a:p>
            <a:pPr>
              <a:lnSpc>
                <a:spcPts val="2556"/>
              </a:lnSpc>
            </a:pPr>
            <a:r>
              <a:rPr lang="en-US" sz="2001" kern="0" dirty="0">
                <a:ln w="6350">
                  <a:noFill/>
                </a:ln>
                <a:solidFill>
                  <a:prstClr val="black">
                    <a:lumMod val="50000"/>
                    <a:lumOff val="50000"/>
                  </a:prstClr>
                </a:solidFill>
              </a:rPr>
              <a:t>Fascinating technologies for everyday life</a:t>
            </a:r>
          </a:p>
        </p:txBody>
      </p:sp>
      <p:pic>
        <p:nvPicPr>
          <p:cNvPr id="149" name="Grafik 13"/>
          <p:cNvPicPr>
            <a:picLocks/>
          </p:cNvPicPr>
          <p:nvPr>
            <p:custDataLst>
              <p:tags r:id="rId101"/>
            </p:custDataLst>
          </p:nvPr>
        </p:nvPicPr>
        <p:blipFill>
          <a:blip r:embed="rId124" cstate="hqprint">
            <a:extLst>
              <a:ext uri="{28A0092B-C50C-407E-A947-70E740481C1C}">
                <a14:useLocalDpi xmlns:a14="http://schemas.microsoft.com/office/drawing/2010/main" val="0"/>
              </a:ext>
            </a:extLst>
          </a:blip>
          <a:stretch>
            <a:fillRect/>
          </a:stretch>
        </p:blipFill>
        <p:spPr>
          <a:xfrm>
            <a:off x="10998364" y="62259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8504777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smtClean="0"/>
              <a:t>Big Data and Artificial Intelligence</a:t>
            </a:r>
            <a:endParaRPr lang="en-US" sz="3112" kern="0" dirty="0"/>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a:spLocks/>
          </p:cNvSpPr>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Automated Store Management: </a:t>
            </a:r>
            <a:r>
              <a:rPr lang="en-US" sz="2400" dirty="0">
                <a:solidFill>
                  <a:srgbClr val="08427E"/>
                </a:solidFill>
              </a:rPr>
              <a:t>AI Solution utilizing Vision and RFID Data</a:t>
            </a:r>
            <a:endParaRPr lang="en-US" sz="3112" dirty="0">
              <a:solidFill>
                <a:srgbClr val="08427E"/>
              </a:solidFill>
            </a:endParaRPr>
          </a:p>
        </p:txBody>
      </p:sp>
      <p:pic>
        <p:nvPicPr>
          <p:cNvPr id="120" name="Picture 119"/>
          <p:cNvPicPr>
            <a:picLocks/>
          </p:cNvPicPr>
          <p:nvPr>
            <p:custDataLst>
              <p:tags r:id="rId6"/>
            </p:custDataLst>
          </p:nvPr>
        </p:nvPicPr>
        <p:blipFill>
          <a:blip r:embed="rId15"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21" name="Picture 120"/>
          <p:cNvPicPr>
            <a:picLocks/>
          </p:cNvPicPr>
          <p:nvPr>
            <p:custDataLst>
              <p:tags r:id="rId7"/>
            </p:custDataLst>
          </p:nvPr>
        </p:nvPicPr>
        <p:blipFill>
          <a:blip r:embed="rId16">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grpSp>
        <p:nvGrpSpPr>
          <p:cNvPr id="38" name="Group 37"/>
          <p:cNvGrpSpPr/>
          <p:nvPr/>
        </p:nvGrpSpPr>
        <p:grpSpPr>
          <a:xfrm>
            <a:off x="4220561" y="1943563"/>
            <a:ext cx="7839553" cy="2089803"/>
            <a:chOff x="4258661" y="1977429"/>
            <a:chExt cx="7839553" cy="2089803"/>
          </a:xfrm>
        </p:grpSpPr>
        <p:sp>
          <p:nvSpPr>
            <p:cNvPr id="39" name="Rectangle: Rounded Corners 1">
              <a:extLst>
                <a:ext uri="{FF2B5EF4-FFF2-40B4-BE49-F238E27FC236}">
                  <a16:creationId xmlns:a16="http://schemas.microsoft.com/office/drawing/2014/main" id="{782AB49A-BB15-4772-8720-1E0C155C4445}"/>
                </a:ext>
              </a:extLst>
            </p:cNvPr>
            <p:cNvSpPr/>
            <p:nvPr/>
          </p:nvSpPr>
          <p:spPr>
            <a:xfrm>
              <a:off x="4258661" y="1977429"/>
              <a:ext cx="7839553" cy="2089803"/>
            </a:xfrm>
            <a:prstGeom prst="roundRect">
              <a:avLst/>
            </a:prstGeom>
            <a:solidFill>
              <a:srgbClr val="BA1C82">
                <a:alpha val="14000"/>
              </a:srgb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dirty="0">
                <a:ln>
                  <a:noFill/>
                </a:ln>
                <a:solidFill>
                  <a:srgbClr val="000000"/>
                </a:solidFill>
                <a:effectLst/>
                <a:uLnTx/>
                <a:uFillTx/>
                <a:latin typeface="Bosch Office Sans"/>
                <a:ea typeface="+mn-ea"/>
                <a:cs typeface="+mn-cs"/>
              </a:endParaRPr>
            </a:p>
          </p:txBody>
        </p:sp>
        <p:grpSp>
          <p:nvGrpSpPr>
            <p:cNvPr id="40" name="Group 39">
              <a:extLst>
                <a:ext uri="{FF2B5EF4-FFF2-40B4-BE49-F238E27FC236}">
                  <a16:creationId xmlns:a16="http://schemas.microsoft.com/office/drawing/2014/main" id="{990D97E8-CC77-4F4E-973A-B875D67769AA}"/>
                </a:ext>
              </a:extLst>
            </p:cNvPr>
            <p:cNvGrpSpPr/>
            <p:nvPr/>
          </p:nvGrpSpPr>
          <p:grpSpPr>
            <a:xfrm>
              <a:off x="4267038" y="2085036"/>
              <a:ext cx="2598669" cy="1683654"/>
              <a:chOff x="4423950" y="1051495"/>
              <a:chExt cx="2598669" cy="1683654"/>
            </a:xfrm>
          </p:grpSpPr>
          <p:pic>
            <p:nvPicPr>
              <p:cNvPr id="47" name="Picture 46">
                <a:extLst>
                  <a:ext uri="{FF2B5EF4-FFF2-40B4-BE49-F238E27FC236}">
                    <a16:creationId xmlns:a16="http://schemas.microsoft.com/office/drawing/2014/main" id="{01B631C1-8C55-4402-835F-0BCA8BD8CF2D}"/>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69597" y="1051495"/>
                <a:ext cx="785277" cy="719131"/>
              </a:xfrm>
              <a:prstGeom prst="rect">
                <a:avLst/>
              </a:prstGeom>
            </p:spPr>
          </p:pic>
          <p:sp>
            <p:nvSpPr>
              <p:cNvPr id="48" name="Rectangle 47">
                <a:extLst>
                  <a:ext uri="{FF2B5EF4-FFF2-40B4-BE49-F238E27FC236}">
                    <a16:creationId xmlns:a16="http://schemas.microsoft.com/office/drawing/2014/main" id="{BA40BFB5-A0E6-43C2-BDFE-400179160937}"/>
                  </a:ext>
                </a:extLst>
              </p:cNvPr>
              <p:cNvSpPr/>
              <p:nvPr>
                <p:custDataLst>
                  <p:tags r:id="rId13"/>
                </p:custDataLst>
              </p:nvPr>
            </p:nvSpPr>
            <p:spPr>
              <a:xfrm>
                <a:off x="4423950" y="1827208"/>
                <a:ext cx="2598669" cy="907941"/>
              </a:xfrm>
              <a:prstGeom prst="rect">
                <a:avLst/>
              </a:prstGeom>
            </p:spPr>
            <p:txBody>
              <a:bodyPr wrap="square" lIns="0" tIns="0" rIns="0" bIns="0">
                <a:spAutoFit/>
              </a:bodyPr>
              <a:lstStyle/>
              <a:p>
                <a:pPr algn="ctr" defTabSz="1016264" fontAlgn="base">
                  <a:lnSpc>
                    <a:spcPts val="1778"/>
                  </a:lnSpc>
                  <a:spcBef>
                    <a:spcPct val="0"/>
                  </a:spcBef>
                  <a:spcAft>
                    <a:spcPct val="0"/>
                  </a:spcAft>
                </a:pPr>
                <a:r>
                  <a:rPr lang="en-US" sz="1334" b="1" kern="0" dirty="0">
                    <a:solidFill>
                      <a:srgbClr val="08427E"/>
                    </a:solidFill>
                    <a:latin typeface="Bosch Office Sans" pitchFamily="2" charset="0"/>
                  </a:rPr>
                  <a:t>Objective</a:t>
                </a:r>
                <a:endParaRPr lang="en-US" sz="1334" kern="0" dirty="0">
                  <a:solidFill>
                    <a:srgbClr val="08427E"/>
                  </a:solidFill>
                  <a:latin typeface="Bosch Office Sans" pitchFamily="2" charset="0"/>
                </a:endParaRPr>
              </a:p>
              <a:p>
                <a:pPr algn="ctr" defTabSz="1016264" fontAlgn="base">
                  <a:spcBef>
                    <a:spcPct val="0"/>
                  </a:spcBef>
                  <a:spcAft>
                    <a:spcPct val="0"/>
                  </a:spcAft>
                </a:pPr>
                <a:r>
                  <a:rPr lang="en-US" sz="1100" kern="0" dirty="0" smtClean="0">
                    <a:solidFill>
                      <a:prstClr val="black"/>
                    </a:solidFill>
                    <a:latin typeface="Bosch Office Sans" pitchFamily="2" charset="0"/>
                  </a:rPr>
                  <a:t/>
                </a:r>
                <a:br>
                  <a:rPr lang="en-US" sz="1100" kern="0" dirty="0" smtClean="0">
                    <a:solidFill>
                      <a:prstClr val="black"/>
                    </a:solidFill>
                    <a:latin typeface="Bosch Office Sans" pitchFamily="2" charset="0"/>
                  </a:rPr>
                </a:br>
                <a:r>
                  <a:rPr lang="en-US" sz="1100" kern="0" dirty="0" smtClean="0">
                    <a:solidFill>
                      <a:prstClr val="black"/>
                    </a:solidFill>
                    <a:latin typeface="Bosch Office Sans" pitchFamily="2" charset="0"/>
                  </a:rPr>
                  <a:t>Automated </a:t>
                </a:r>
                <a:r>
                  <a:rPr lang="en-US" sz="1100" kern="0" dirty="0">
                    <a:solidFill>
                      <a:prstClr val="black"/>
                    </a:solidFill>
                    <a:latin typeface="Bosch Office Sans" pitchFamily="2" charset="0"/>
                  </a:rPr>
                  <a:t>process of detecting </a:t>
                </a:r>
              </a:p>
              <a:p>
                <a:pPr algn="ctr" defTabSz="1016264" fontAlgn="base">
                  <a:spcBef>
                    <a:spcPct val="0"/>
                  </a:spcBef>
                  <a:spcAft>
                    <a:spcPct val="0"/>
                  </a:spcAft>
                </a:pPr>
                <a:r>
                  <a:rPr lang="en-US" sz="1100" kern="0" dirty="0">
                    <a:solidFill>
                      <a:prstClr val="black"/>
                    </a:solidFill>
                    <a:latin typeface="Bosch Office Sans" pitchFamily="2" charset="0"/>
                  </a:rPr>
                  <a:t>misplaced items in the store, </a:t>
                </a:r>
              </a:p>
              <a:p>
                <a:pPr algn="ctr" defTabSz="1016264" fontAlgn="base">
                  <a:spcBef>
                    <a:spcPct val="0"/>
                  </a:spcBef>
                  <a:spcAft>
                    <a:spcPct val="0"/>
                  </a:spcAft>
                </a:pPr>
                <a:r>
                  <a:rPr lang="en-US" sz="1100" kern="0" dirty="0">
                    <a:solidFill>
                      <a:prstClr val="black"/>
                    </a:solidFill>
                    <a:latin typeface="Bosch Office Sans" pitchFamily="2" charset="0"/>
                  </a:rPr>
                  <a:t>without manual intervention. </a:t>
                </a:r>
              </a:p>
            </p:txBody>
          </p:sp>
        </p:grpSp>
        <p:grpSp>
          <p:nvGrpSpPr>
            <p:cNvPr id="41" name="Group 40">
              <a:extLst>
                <a:ext uri="{FF2B5EF4-FFF2-40B4-BE49-F238E27FC236}">
                  <a16:creationId xmlns:a16="http://schemas.microsoft.com/office/drawing/2014/main" id="{AF662E3F-98EA-4F6B-BE18-432F9BB4B3AD}"/>
                </a:ext>
              </a:extLst>
            </p:cNvPr>
            <p:cNvGrpSpPr/>
            <p:nvPr/>
          </p:nvGrpSpPr>
          <p:grpSpPr>
            <a:xfrm>
              <a:off x="6865368" y="2144175"/>
              <a:ext cx="2717076" cy="1799943"/>
              <a:chOff x="7022280" y="1110634"/>
              <a:chExt cx="2717076" cy="1799943"/>
            </a:xfrm>
          </p:grpSpPr>
          <p:pic>
            <p:nvPicPr>
              <p:cNvPr id="45" name="Picture 44">
                <a:extLst>
                  <a:ext uri="{FF2B5EF4-FFF2-40B4-BE49-F238E27FC236}">
                    <a16:creationId xmlns:a16="http://schemas.microsoft.com/office/drawing/2014/main" id="{09ED6BCA-8B19-4676-8FE4-7F54018CA374}"/>
                  </a:ext>
                </a:extLst>
              </p:cNvPr>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7983242" y="1110634"/>
                <a:ext cx="676743" cy="659992"/>
              </a:xfrm>
              <a:prstGeom prst="rect">
                <a:avLst/>
              </a:prstGeom>
            </p:spPr>
          </p:pic>
          <p:sp>
            <p:nvSpPr>
              <p:cNvPr id="46" name="Rectangle 45">
                <a:extLst>
                  <a:ext uri="{FF2B5EF4-FFF2-40B4-BE49-F238E27FC236}">
                    <a16:creationId xmlns:a16="http://schemas.microsoft.com/office/drawing/2014/main" id="{C7421382-2D45-4667-A423-F90DAA8BAD37}"/>
                  </a:ext>
                </a:extLst>
              </p:cNvPr>
              <p:cNvSpPr/>
              <p:nvPr>
                <p:custDataLst>
                  <p:tags r:id="rId12"/>
                </p:custDataLst>
              </p:nvPr>
            </p:nvSpPr>
            <p:spPr>
              <a:xfrm>
                <a:off x="7022280" y="1833359"/>
                <a:ext cx="2717076" cy="1077218"/>
              </a:xfrm>
              <a:prstGeom prst="rect">
                <a:avLst/>
              </a:prstGeom>
            </p:spPr>
            <p:txBody>
              <a:bodyPr wrap="square" lIns="0" tIns="0" rIns="0" bIns="0">
                <a:spAutoFit/>
              </a:bodyPr>
              <a:lstStyle/>
              <a:p>
                <a:pPr algn="ctr" defTabSz="1016264" fontAlgn="base">
                  <a:lnSpc>
                    <a:spcPts val="1778"/>
                  </a:lnSpc>
                  <a:spcBef>
                    <a:spcPct val="0"/>
                  </a:spcBef>
                  <a:spcAft>
                    <a:spcPct val="0"/>
                  </a:spcAft>
                </a:pPr>
                <a:r>
                  <a:rPr lang="en-US" sz="1334" b="1" kern="0" dirty="0">
                    <a:solidFill>
                      <a:srgbClr val="0E78C5"/>
                    </a:solidFill>
                    <a:latin typeface="Bosch Office Sans" pitchFamily="2" charset="0"/>
                  </a:rPr>
                  <a:t>Data</a:t>
                </a:r>
              </a:p>
              <a:p>
                <a:pPr algn="ctr"/>
                <a:endParaRPr lang="en-US" sz="1100" kern="0" dirty="0" smtClean="0"/>
              </a:p>
              <a:p>
                <a:pPr algn="ctr"/>
                <a:r>
                  <a:rPr lang="en-US" sz="1100" kern="0" dirty="0" smtClean="0"/>
                  <a:t>(</a:t>
                </a:r>
                <a:r>
                  <a:rPr lang="en-US" sz="1100" kern="0" dirty="0" err="1"/>
                  <a:t>i</a:t>
                </a:r>
                <a:r>
                  <a:rPr lang="en-US" sz="1100" kern="0" dirty="0"/>
                  <a:t>) Electronic Product Codes (EPCs</a:t>
                </a:r>
                <a:r>
                  <a:rPr lang="en-US" sz="1100" kern="0" dirty="0" smtClean="0"/>
                  <a:t>), </a:t>
                </a:r>
                <a:r>
                  <a:rPr lang="en-US" sz="1100" kern="0" dirty="0"/>
                  <a:t>associated with </a:t>
                </a:r>
                <a:r>
                  <a:rPr lang="en-US" sz="1100" kern="0" dirty="0" smtClean="0"/>
                  <a:t>RFID </a:t>
                </a:r>
                <a:r>
                  <a:rPr lang="en-US" sz="1100" kern="0" dirty="0"/>
                  <a:t>tags placed on them; (ii) Stereo cameras to capture images of all parts of store</a:t>
                </a:r>
              </a:p>
            </p:txBody>
          </p:sp>
        </p:grpSp>
        <p:grpSp>
          <p:nvGrpSpPr>
            <p:cNvPr id="42" name="Group 41">
              <a:extLst>
                <a:ext uri="{FF2B5EF4-FFF2-40B4-BE49-F238E27FC236}">
                  <a16:creationId xmlns:a16="http://schemas.microsoft.com/office/drawing/2014/main" id="{7A9B2011-C4DC-4B4C-9022-8247F30623B4}"/>
                </a:ext>
              </a:extLst>
            </p:cNvPr>
            <p:cNvGrpSpPr/>
            <p:nvPr/>
          </p:nvGrpSpPr>
          <p:grpSpPr>
            <a:xfrm>
              <a:off x="9582444" y="2086031"/>
              <a:ext cx="2515770" cy="1720248"/>
              <a:chOff x="9739356" y="1052490"/>
              <a:chExt cx="2515770" cy="1720248"/>
            </a:xfrm>
          </p:grpSpPr>
          <p:pic>
            <p:nvPicPr>
              <p:cNvPr id="43" name="Picture 42">
                <a:extLst>
                  <a:ext uri="{FF2B5EF4-FFF2-40B4-BE49-F238E27FC236}">
                    <a16:creationId xmlns:a16="http://schemas.microsoft.com/office/drawing/2014/main" id="{39E1B4C5-50F6-4D4E-821F-59267C0BA90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654676" y="1052490"/>
                <a:ext cx="576259" cy="718136"/>
              </a:xfrm>
              <a:prstGeom prst="rect">
                <a:avLst/>
              </a:prstGeom>
            </p:spPr>
          </p:pic>
          <p:sp>
            <p:nvSpPr>
              <p:cNvPr id="44" name="Rectangle 43">
                <a:extLst>
                  <a:ext uri="{FF2B5EF4-FFF2-40B4-BE49-F238E27FC236}">
                    <a16:creationId xmlns:a16="http://schemas.microsoft.com/office/drawing/2014/main" id="{3B7BB01B-D9C1-4545-A4F1-0CD32A1E906D}"/>
                  </a:ext>
                </a:extLst>
              </p:cNvPr>
              <p:cNvSpPr/>
              <p:nvPr>
                <p:custDataLst>
                  <p:tags r:id="rId11"/>
                </p:custDataLst>
              </p:nvPr>
            </p:nvSpPr>
            <p:spPr>
              <a:xfrm>
                <a:off x="9739356" y="1864797"/>
                <a:ext cx="2515770" cy="907941"/>
              </a:xfrm>
              <a:prstGeom prst="rect">
                <a:avLst/>
              </a:prstGeom>
            </p:spPr>
            <p:txBody>
              <a:bodyPr wrap="square" lIns="0" tIns="0" rIns="0" bIns="0">
                <a:spAutoFit/>
              </a:bodyPr>
              <a:lstStyle/>
              <a:p>
                <a:pPr algn="ctr" defTabSz="1016264" fontAlgn="base">
                  <a:lnSpc>
                    <a:spcPts val="1778"/>
                  </a:lnSpc>
                  <a:spcBef>
                    <a:spcPct val="0"/>
                  </a:spcBef>
                  <a:spcAft>
                    <a:spcPct val="0"/>
                  </a:spcAft>
                </a:pPr>
                <a:r>
                  <a:rPr lang="en-US" sz="1334" b="1" kern="0" dirty="0">
                    <a:solidFill>
                      <a:srgbClr val="1399A0"/>
                    </a:solidFill>
                    <a:latin typeface="Bosch Office Sans" pitchFamily="2" charset="0"/>
                  </a:rPr>
                  <a:t>Outcome</a:t>
                </a:r>
                <a:endParaRPr lang="en-US" sz="1334" kern="0" dirty="0">
                  <a:solidFill>
                    <a:srgbClr val="1399A0"/>
                  </a:solidFill>
                  <a:latin typeface="Bosch Office Sans" pitchFamily="2" charset="0"/>
                </a:endParaRPr>
              </a:p>
              <a:p>
                <a:pPr algn="ctr" defTabSz="1016264" fontAlgn="base">
                  <a:spcBef>
                    <a:spcPct val="0"/>
                  </a:spcBef>
                  <a:spcAft>
                    <a:spcPct val="0"/>
                  </a:spcAft>
                </a:pPr>
                <a:endParaRPr lang="en-US" sz="1100" kern="0" dirty="0" smtClean="0">
                  <a:solidFill>
                    <a:prstClr val="black"/>
                  </a:solidFill>
                  <a:latin typeface="Bosch Office Sans" pitchFamily="2" charset="0"/>
                </a:endParaRPr>
              </a:p>
              <a:p>
                <a:pPr algn="ctr" defTabSz="1016264" fontAlgn="base">
                  <a:spcBef>
                    <a:spcPct val="0"/>
                  </a:spcBef>
                  <a:spcAft>
                    <a:spcPct val="0"/>
                  </a:spcAft>
                </a:pPr>
                <a:r>
                  <a:rPr lang="en-US" sz="1100" kern="0" dirty="0" smtClean="0">
                    <a:solidFill>
                      <a:prstClr val="black"/>
                    </a:solidFill>
                    <a:latin typeface="Bosch Office Sans" pitchFamily="2" charset="0"/>
                  </a:rPr>
                  <a:t>During </a:t>
                </a:r>
                <a:r>
                  <a:rPr lang="en-US" sz="1100" kern="0" dirty="0">
                    <a:solidFill>
                      <a:prstClr val="black"/>
                    </a:solidFill>
                    <a:latin typeface="Bosch Office Sans" pitchFamily="2" charset="0"/>
                  </a:rPr>
                  <a:t>store’s operational hours, </a:t>
                </a:r>
              </a:p>
              <a:p>
                <a:pPr algn="ctr" defTabSz="1016264" fontAlgn="base">
                  <a:spcBef>
                    <a:spcPct val="0"/>
                  </a:spcBef>
                  <a:spcAft>
                    <a:spcPct val="0"/>
                  </a:spcAft>
                </a:pPr>
                <a:r>
                  <a:rPr lang="en-US" sz="1100" kern="0" dirty="0">
                    <a:solidFill>
                      <a:prstClr val="black"/>
                    </a:solidFill>
                    <a:latin typeface="Bosch Office Sans" pitchFamily="2" charset="0"/>
                  </a:rPr>
                  <a:t>misplaced items </a:t>
                </a:r>
                <a:r>
                  <a:rPr lang="en-US" sz="1100" kern="0" dirty="0" smtClean="0">
                    <a:solidFill>
                      <a:prstClr val="black"/>
                    </a:solidFill>
                    <a:latin typeface="Bosch Office Sans" pitchFamily="2" charset="0"/>
                  </a:rPr>
                  <a:t>are automatically </a:t>
                </a:r>
                <a:r>
                  <a:rPr lang="en-US" sz="1100" kern="0" dirty="0">
                    <a:solidFill>
                      <a:prstClr val="black"/>
                    </a:solidFill>
                    <a:latin typeface="Bosch Office Sans" pitchFamily="2" charset="0"/>
                  </a:rPr>
                  <a:t>detected at </a:t>
                </a:r>
                <a:r>
                  <a:rPr lang="en-US" sz="1100" kern="0" dirty="0" smtClean="0">
                    <a:solidFill>
                      <a:prstClr val="black"/>
                    </a:solidFill>
                    <a:latin typeface="Bosch Office Sans" pitchFamily="2" charset="0"/>
                  </a:rPr>
                  <a:t>regular time </a:t>
                </a:r>
                <a:r>
                  <a:rPr lang="en-US" sz="1100" kern="0" dirty="0">
                    <a:solidFill>
                      <a:prstClr val="black"/>
                    </a:solidFill>
                    <a:latin typeface="Bosch Office Sans" pitchFamily="2" charset="0"/>
                  </a:rPr>
                  <a:t>intervals</a:t>
                </a:r>
              </a:p>
            </p:txBody>
          </p:sp>
        </p:grpSp>
      </p:grpSp>
      <p:grpSp>
        <p:nvGrpSpPr>
          <p:cNvPr id="49" name="Group 48">
            <a:extLst>
              <a:ext uri="{FF2B5EF4-FFF2-40B4-BE49-F238E27FC236}">
                <a16:creationId xmlns:a16="http://schemas.microsoft.com/office/drawing/2014/main" id="{1B4DF73B-069A-47D4-B5DD-15F07C7A0089}"/>
              </a:ext>
            </a:extLst>
          </p:cNvPr>
          <p:cNvGrpSpPr/>
          <p:nvPr/>
        </p:nvGrpSpPr>
        <p:grpSpPr>
          <a:xfrm>
            <a:off x="566765" y="1266721"/>
            <a:ext cx="11158157" cy="710647"/>
            <a:chOff x="418409" y="5937616"/>
            <a:chExt cx="10925772" cy="691183"/>
          </a:xfrm>
        </p:grpSpPr>
        <p:pic>
          <p:nvPicPr>
            <p:cNvPr id="50" name="Picture 49">
              <a:extLst>
                <a:ext uri="{FF2B5EF4-FFF2-40B4-BE49-F238E27FC236}">
                  <a16:creationId xmlns:a16="http://schemas.microsoft.com/office/drawing/2014/main" id="{25034612-FCB4-4FA4-BF87-19912561E04F}"/>
                </a:ext>
              </a:extLst>
            </p:cNvPr>
            <p:cNvPicPr>
              <a:picLocks noChangeAspect="1"/>
            </p:cNvPicPr>
            <p:nvPr>
              <p:custDataLst>
                <p:tags r:id="rId9"/>
              </p:custDataLst>
            </p:nvPr>
          </p:nvPicPr>
          <p:blipFill>
            <a:blip r:embed="rId20"/>
            <a:stretch>
              <a:fillRect/>
            </a:stretch>
          </p:blipFill>
          <p:spPr>
            <a:xfrm>
              <a:off x="418409" y="5937616"/>
              <a:ext cx="846379" cy="691183"/>
            </a:xfrm>
            <a:prstGeom prst="rect">
              <a:avLst/>
            </a:prstGeom>
          </p:spPr>
        </p:pic>
        <p:sp>
          <p:nvSpPr>
            <p:cNvPr id="51" name="Rectangle 50">
              <a:extLst>
                <a:ext uri="{FF2B5EF4-FFF2-40B4-BE49-F238E27FC236}">
                  <a16:creationId xmlns:a16="http://schemas.microsoft.com/office/drawing/2014/main" id="{5E40208F-C9FB-4F4C-AFA4-BFF3313FBBDA}"/>
                </a:ext>
              </a:extLst>
            </p:cNvPr>
            <p:cNvSpPr/>
            <p:nvPr>
              <p:custDataLst>
                <p:tags r:id="rId10"/>
              </p:custDataLst>
            </p:nvPr>
          </p:nvSpPr>
          <p:spPr>
            <a:xfrm>
              <a:off x="1429988" y="5978298"/>
              <a:ext cx="9914193" cy="612913"/>
            </a:xfrm>
            <a:prstGeom prst="rect">
              <a:avLst/>
            </a:prstGeom>
          </p:spPr>
          <p:txBody>
            <a:bodyPr wrap="square" lIns="0" tIns="0" rIns="0" bIns="0">
              <a:spAutoFit/>
            </a:bodyPr>
            <a:lstStyle/>
            <a:p>
              <a:pPr defTabSz="1016264" fontAlgn="base">
                <a:lnSpc>
                  <a:spcPts val="2556"/>
                </a:lnSpc>
                <a:spcBef>
                  <a:spcPct val="0"/>
                </a:spcBef>
                <a:spcAft>
                  <a:spcPct val="0"/>
                </a:spcAft>
              </a:pPr>
              <a:r>
                <a:rPr lang="en-US" sz="1600" b="1" dirty="0">
                  <a:solidFill>
                    <a:srgbClr val="08427E"/>
                  </a:solidFill>
                  <a:latin typeface="Bosch Office Sans" pitchFamily="2" charset="0"/>
                </a:rPr>
                <a:t>Computer Vision, RFID and Machine learning </a:t>
              </a:r>
              <a:r>
                <a:rPr lang="en-US" sz="1600" dirty="0">
                  <a:solidFill>
                    <a:srgbClr val="08427E"/>
                  </a:solidFill>
                  <a:latin typeface="Bosch Office Sans" pitchFamily="2" charset="0"/>
                </a:rPr>
                <a:t>are used to determine the possible</a:t>
              </a:r>
              <a:r>
                <a:rPr lang="en-US" sz="1600" b="1" dirty="0">
                  <a:solidFill>
                    <a:srgbClr val="08427E"/>
                  </a:solidFill>
                  <a:latin typeface="Bosch Office Sans" pitchFamily="2" charset="0"/>
                </a:rPr>
                <a:t> misplacement of items </a:t>
              </a:r>
              <a:r>
                <a:rPr lang="en-US" sz="1600" dirty="0">
                  <a:solidFill>
                    <a:srgbClr val="08427E"/>
                  </a:solidFill>
                  <a:latin typeface="Bosch Office Sans" pitchFamily="2" charset="0"/>
                </a:rPr>
                <a:t>inside the store</a:t>
              </a:r>
            </a:p>
          </p:txBody>
        </p:sp>
      </p:grpSp>
      <p:grpSp>
        <p:nvGrpSpPr>
          <p:cNvPr id="52" name="Group 51"/>
          <p:cNvGrpSpPr/>
          <p:nvPr/>
        </p:nvGrpSpPr>
        <p:grpSpPr>
          <a:xfrm>
            <a:off x="6884257" y="4670249"/>
            <a:ext cx="4132039" cy="1818922"/>
            <a:chOff x="6922357" y="4704115"/>
            <a:chExt cx="4132039" cy="1818922"/>
          </a:xfrm>
        </p:grpSpPr>
        <p:grpSp>
          <p:nvGrpSpPr>
            <p:cNvPr id="53" name="Group 52">
              <a:extLst>
                <a:ext uri="{FF2B5EF4-FFF2-40B4-BE49-F238E27FC236}">
                  <a16:creationId xmlns:a16="http://schemas.microsoft.com/office/drawing/2014/main" id="{CF6FF4B5-5C24-45C2-832C-B38C86351D1E}"/>
                </a:ext>
              </a:extLst>
            </p:cNvPr>
            <p:cNvGrpSpPr/>
            <p:nvPr/>
          </p:nvGrpSpPr>
          <p:grpSpPr>
            <a:xfrm>
              <a:off x="6969593" y="5726477"/>
              <a:ext cx="3938786" cy="796560"/>
              <a:chOff x="5878833" y="4336938"/>
              <a:chExt cx="3938786" cy="796560"/>
            </a:xfrm>
          </p:grpSpPr>
          <p:sp>
            <p:nvSpPr>
              <p:cNvPr id="72" name="TextBox 71">
                <a:extLst>
                  <a:ext uri="{FF2B5EF4-FFF2-40B4-BE49-F238E27FC236}">
                    <a16:creationId xmlns:a16="http://schemas.microsoft.com/office/drawing/2014/main" id="{996F9656-6438-4B5B-A0AB-1AEF66E5EA6E}"/>
                  </a:ext>
                </a:extLst>
              </p:cNvPr>
              <p:cNvSpPr txBox="1"/>
              <p:nvPr/>
            </p:nvSpPr>
            <p:spPr>
              <a:xfrm>
                <a:off x="6538879" y="4346041"/>
                <a:ext cx="3278740" cy="787457"/>
              </a:xfrm>
              <a:prstGeom prst="rect">
                <a:avLst/>
              </a:prstGeom>
              <a:noFill/>
            </p:spPr>
            <p:txBody>
              <a:bodyPr wrap="square" lIns="0" tIns="0" rIns="0" bIns="0" rtlCol="0">
                <a:noAutofit/>
              </a:bodyPr>
              <a:lstStyle/>
              <a:p>
                <a:pPr defTabSz="1016264" fontAlgn="base">
                  <a:spcBef>
                    <a:spcPts val="222"/>
                  </a:spcBef>
                  <a:spcAft>
                    <a:spcPts val="222"/>
                  </a:spcAft>
                </a:pPr>
                <a:r>
                  <a:rPr lang="en-US" sz="1100" dirty="0">
                    <a:solidFill>
                      <a:prstClr val="black"/>
                    </a:solidFill>
                    <a:latin typeface="Bosch Office Sans" pitchFamily="2" charset="0"/>
                  </a:rPr>
                  <a:t>Application of advance tech. such as </a:t>
                </a:r>
                <a:r>
                  <a:rPr lang="en-US" sz="1100" b="1" dirty="0">
                    <a:solidFill>
                      <a:prstClr val="black"/>
                    </a:solidFill>
                    <a:latin typeface="Bosch Office Sans" pitchFamily="2" charset="0"/>
                  </a:rPr>
                  <a:t>Computer Vision</a:t>
                </a:r>
                <a:r>
                  <a:rPr lang="en-US" sz="1100" dirty="0">
                    <a:solidFill>
                      <a:prstClr val="black"/>
                    </a:solidFill>
                    <a:latin typeface="Bosch Office Sans" pitchFamily="2" charset="0"/>
                  </a:rPr>
                  <a:t>, </a:t>
                </a:r>
                <a:r>
                  <a:rPr lang="en-US" sz="1100" b="1" dirty="0">
                    <a:solidFill>
                      <a:prstClr val="black"/>
                    </a:solidFill>
                    <a:latin typeface="Bosch Office Sans" pitchFamily="2" charset="0"/>
                  </a:rPr>
                  <a:t>Machine learning</a:t>
                </a:r>
                <a:r>
                  <a:rPr lang="en-US" sz="1100" dirty="0">
                    <a:solidFill>
                      <a:prstClr val="black"/>
                    </a:solidFill>
                    <a:latin typeface="Bosch Office Sans" pitchFamily="2" charset="0"/>
                  </a:rPr>
                  <a:t> and </a:t>
                </a:r>
                <a:r>
                  <a:rPr lang="en-US" sz="1100" b="1" dirty="0">
                    <a:solidFill>
                      <a:prstClr val="black"/>
                    </a:solidFill>
                    <a:latin typeface="Bosch Office Sans" pitchFamily="2" charset="0"/>
                  </a:rPr>
                  <a:t>RFID</a:t>
                </a:r>
                <a:r>
                  <a:rPr lang="en-US" sz="1100" dirty="0">
                    <a:solidFill>
                      <a:prstClr val="black"/>
                    </a:solidFill>
                    <a:latin typeface="Bosch Office Sans" pitchFamily="2" charset="0"/>
                  </a:rPr>
                  <a:t> analytics to build a self learning system</a:t>
                </a:r>
              </a:p>
            </p:txBody>
          </p:sp>
          <p:pic>
            <p:nvPicPr>
              <p:cNvPr id="73" name="Picture 72" descr="A close up of a logo&#10;&#10;Description automatically generated">
                <a:extLst>
                  <a:ext uri="{FF2B5EF4-FFF2-40B4-BE49-F238E27FC236}">
                    <a16:creationId xmlns:a16="http://schemas.microsoft.com/office/drawing/2014/main" id="{617E592E-5106-4CD5-8FA8-91A972C6D0B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878833" y="4336938"/>
                <a:ext cx="521551" cy="512477"/>
              </a:xfrm>
              <a:prstGeom prst="rect">
                <a:avLst/>
              </a:prstGeom>
            </p:spPr>
          </p:pic>
        </p:grpSp>
        <p:grpSp>
          <p:nvGrpSpPr>
            <p:cNvPr id="69" name="Group 68">
              <a:extLst>
                <a:ext uri="{FF2B5EF4-FFF2-40B4-BE49-F238E27FC236}">
                  <a16:creationId xmlns:a16="http://schemas.microsoft.com/office/drawing/2014/main" id="{74F3AC54-5BC9-4CFF-8AFB-6A55048A44FE}"/>
                </a:ext>
              </a:extLst>
            </p:cNvPr>
            <p:cNvGrpSpPr/>
            <p:nvPr/>
          </p:nvGrpSpPr>
          <p:grpSpPr>
            <a:xfrm>
              <a:off x="6922357" y="4704115"/>
              <a:ext cx="4132039" cy="852205"/>
              <a:chOff x="8096304" y="3937687"/>
              <a:chExt cx="4132039" cy="852205"/>
            </a:xfrm>
          </p:grpSpPr>
          <p:sp>
            <p:nvSpPr>
              <p:cNvPr id="70" name="TextBox 69">
                <a:extLst>
                  <a:ext uri="{FF2B5EF4-FFF2-40B4-BE49-F238E27FC236}">
                    <a16:creationId xmlns:a16="http://schemas.microsoft.com/office/drawing/2014/main" id="{16618FF9-65F4-490F-9EDD-10C9B8C7C0A2}"/>
                  </a:ext>
                </a:extLst>
              </p:cNvPr>
              <p:cNvSpPr txBox="1"/>
              <p:nvPr/>
            </p:nvSpPr>
            <p:spPr>
              <a:xfrm>
                <a:off x="8803584" y="4002435"/>
                <a:ext cx="3424759" cy="787457"/>
              </a:xfrm>
              <a:prstGeom prst="rect">
                <a:avLst/>
              </a:prstGeom>
              <a:noFill/>
            </p:spPr>
            <p:txBody>
              <a:bodyPr wrap="square" lIns="0" tIns="0" rIns="0" bIns="0" rtlCol="0">
                <a:noAutofit/>
              </a:bodyPr>
              <a:lstStyle/>
              <a:p>
                <a:pPr defTabSz="1016264" fontAlgn="base">
                  <a:spcBef>
                    <a:spcPts val="222"/>
                  </a:spcBef>
                  <a:spcAft>
                    <a:spcPts val="222"/>
                  </a:spcAft>
                </a:pPr>
                <a:r>
                  <a:rPr lang="en-US" sz="1100" dirty="0">
                    <a:solidFill>
                      <a:prstClr val="black"/>
                    </a:solidFill>
                    <a:latin typeface="Bosch Office Sans" pitchFamily="2" charset="0"/>
                  </a:rPr>
                  <a:t>Future fusion with additional sensor data  for </a:t>
                </a:r>
                <a:r>
                  <a:rPr lang="en-US" sz="1100" b="1" dirty="0">
                    <a:solidFill>
                      <a:prstClr val="black"/>
                    </a:solidFill>
                    <a:latin typeface="Bosch Office Sans" pitchFamily="2" charset="0"/>
                  </a:rPr>
                  <a:t>automated inventory management</a:t>
                </a:r>
                <a:r>
                  <a:rPr lang="en-US" sz="1100" dirty="0">
                    <a:solidFill>
                      <a:prstClr val="black"/>
                    </a:solidFill>
                    <a:latin typeface="Bosch Office Sans" pitchFamily="2" charset="0"/>
                  </a:rPr>
                  <a:t>, improved store planning and </a:t>
                </a:r>
                <a:r>
                  <a:rPr lang="en-US" sz="1100" b="1" dirty="0">
                    <a:solidFill>
                      <a:prstClr val="black"/>
                    </a:solidFill>
                    <a:latin typeface="Bosch Office Sans" pitchFamily="2" charset="0"/>
                  </a:rPr>
                  <a:t>visual merchandising recommendations</a:t>
                </a:r>
              </a:p>
            </p:txBody>
          </p:sp>
          <p:pic>
            <p:nvPicPr>
              <p:cNvPr id="71" name="Picture 70">
                <a:extLst>
                  <a:ext uri="{FF2B5EF4-FFF2-40B4-BE49-F238E27FC236}">
                    <a16:creationId xmlns:a16="http://schemas.microsoft.com/office/drawing/2014/main" id="{E9458412-5D6A-4923-9571-16ED121A4443}"/>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096304" y="3937687"/>
                <a:ext cx="631900" cy="774802"/>
              </a:xfrm>
              <a:prstGeom prst="rect">
                <a:avLst/>
              </a:prstGeom>
            </p:spPr>
          </p:pic>
        </p:grpSp>
      </p:grpSp>
      <p:cxnSp>
        <p:nvCxnSpPr>
          <p:cNvPr id="74" name="Straight Connector 73">
            <a:extLst>
              <a:ext uri="{FF2B5EF4-FFF2-40B4-BE49-F238E27FC236}">
                <a16:creationId xmlns:a16="http://schemas.microsoft.com/office/drawing/2014/main" id="{A57D4D38-798A-494B-9262-1AA498B5B29A}"/>
              </a:ext>
            </a:extLst>
          </p:cNvPr>
          <p:cNvCxnSpPr/>
          <p:nvPr/>
        </p:nvCxnSpPr>
        <p:spPr>
          <a:xfrm>
            <a:off x="336932" y="4266148"/>
            <a:ext cx="11547987" cy="0"/>
          </a:xfrm>
          <a:prstGeom prst="line">
            <a:avLst/>
          </a:prstGeom>
          <a:ln w="12700">
            <a:solidFill>
              <a:srgbClr val="A32084"/>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483815" y="2013407"/>
            <a:ext cx="3201647" cy="2215378"/>
            <a:chOff x="521915" y="2047273"/>
            <a:chExt cx="3201647" cy="2215378"/>
          </a:xfrm>
        </p:grpSpPr>
        <p:pic>
          <p:nvPicPr>
            <p:cNvPr id="76" name="Picture 75">
              <a:extLst>
                <a:ext uri="{FF2B5EF4-FFF2-40B4-BE49-F238E27FC236}">
                  <a16:creationId xmlns:a16="http://schemas.microsoft.com/office/drawing/2014/main" id="{C9898B31-034B-4F7B-B1B5-D8C4BE60DCE2}"/>
                </a:ext>
              </a:extLst>
            </p:cNvPr>
            <p:cNvPicPr preferRelativeResize="0">
              <a:picLocks noChangeAspect="1"/>
            </p:cNvPicPr>
            <p:nvPr>
              <p:custDataLst>
                <p:tags r:id="rId8"/>
              </p:custDataLst>
            </p:nvPr>
          </p:nvPicPr>
          <p:blipFill>
            <a:blip r:embed="rId23"/>
            <a:stretch>
              <a:fillRect/>
            </a:stretch>
          </p:blipFill>
          <p:spPr>
            <a:xfrm>
              <a:off x="521915" y="2047273"/>
              <a:ext cx="2954815" cy="1733606"/>
            </a:xfrm>
            <a:prstGeom prst="rect">
              <a:avLst/>
            </a:prstGeom>
          </p:spPr>
        </p:pic>
        <p:sp>
          <p:nvSpPr>
            <p:cNvPr id="77" name="Rectangle 76">
              <a:extLst>
                <a:ext uri="{FF2B5EF4-FFF2-40B4-BE49-F238E27FC236}">
                  <a16:creationId xmlns:a16="http://schemas.microsoft.com/office/drawing/2014/main" id="{14F81AE1-3AE3-4767-BB81-6908F6AEC4C8}"/>
                </a:ext>
              </a:extLst>
            </p:cNvPr>
            <p:cNvSpPr/>
            <p:nvPr/>
          </p:nvSpPr>
          <p:spPr>
            <a:xfrm>
              <a:off x="593472" y="3816375"/>
              <a:ext cx="3130090" cy="446276"/>
            </a:xfrm>
            <a:prstGeom prst="rect">
              <a:avLst/>
            </a:prstGeom>
          </p:spPr>
          <p:txBody>
            <a:bodyPr wrap="square">
              <a:spAutoFit/>
            </a:bodyPr>
            <a:lstStyle/>
            <a:p>
              <a:pPr algn="ctr"/>
              <a:r>
                <a:rPr lang="en-US" sz="1100" b="1" dirty="0">
                  <a:solidFill>
                    <a:schemeClr val="accent5">
                      <a:lumMod val="50000"/>
                    </a:schemeClr>
                  </a:solidFill>
                  <a:latin typeface="+mj-lt"/>
                </a:rPr>
                <a:t>Store with RFID readers and stereo cameras placed on ceiling</a:t>
              </a:r>
              <a:r>
                <a:rPr lang="en-US" sz="1200" b="1" dirty="0">
                  <a:solidFill>
                    <a:schemeClr val="accent5">
                      <a:lumMod val="50000"/>
                    </a:schemeClr>
                  </a:solidFill>
                  <a:latin typeface="+mj-lt"/>
                </a:rPr>
                <a:t> </a:t>
              </a:r>
            </a:p>
          </p:txBody>
        </p:sp>
      </p:grpSp>
      <p:grpSp>
        <p:nvGrpSpPr>
          <p:cNvPr id="78" name="Group 77"/>
          <p:cNvGrpSpPr/>
          <p:nvPr/>
        </p:nvGrpSpPr>
        <p:grpSpPr>
          <a:xfrm>
            <a:off x="525600" y="4274720"/>
            <a:ext cx="5587630" cy="2122887"/>
            <a:chOff x="563700" y="4365031"/>
            <a:chExt cx="4786731" cy="2122887"/>
          </a:xfrm>
        </p:grpSpPr>
        <p:sp>
          <p:nvSpPr>
            <p:cNvPr id="79" name="Rectangle 78">
              <a:extLst>
                <a:ext uri="{FF2B5EF4-FFF2-40B4-BE49-F238E27FC236}">
                  <a16:creationId xmlns:a16="http://schemas.microsoft.com/office/drawing/2014/main" id="{81C2B31B-42D2-43E7-A81B-85E357B0DA5A}"/>
                </a:ext>
              </a:extLst>
            </p:cNvPr>
            <p:cNvSpPr/>
            <p:nvPr/>
          </p:nvSpPr>
          <p:spPr>
            <a:xfrm>
              <a:off x="563700" y="4365031"/>
              <a:ext cx="4786731" cy="461665"/>
            </a:xfrm>
            <a:prstGeom prst="rect">
              <a:avLst/>
            </a:prstGeom>
          </p:spPr>
          <p:txBody>
            <a:bodyPr wrap="square">
              <a:spAutoFit/>
            </a:bodyPr>
            <a:lstStyle/>
            <a:p>
              <a:r>
                <a:rPr lang="en-US" sz="1200" dirty="0"/>
                <a:t>Retail stores have scope for using analytics to help in automation of their processes, wherein manual intervention can be avoided.</a:t>
              </a:r>
              <a:endParaRPr lang="en-IN" sz="1200" dirty="0"/>
            </a:p>
          </p:txBody>
        </p:sp>
        <p:sp>
          <p:nvSpPr>
            <p:cNvPr id="80" name="Rectangle 79">
              <a:extLst>
                <a:ext uri="{FF2B5EF4-FFF2-40B4-BE49-F238E27FC236}">
                  <a16:creationId xmlns:a16="http://schemas.microsoft.com/office/drawing/2014/main" id="{74C136BA-2403-41E6-BEAB-BE9938D42E21}"/>
                </a:ext>
              </a:extLst>
            </p:cNvPr>
            <p:cNvSpPr/>
            <p:nvPr/>
          </p:nvSpPr>
          <p:spPr>
            <a:xfrm>
              <a:off x="1283621" y="4941341"/>
              <a:ext cx="4066810" cy="1546577"/>
            </a:xfrm>
            <a:prstGeom prst="rect">
              <a:avLst/>
            </a:prstGeom>
          </p:spPr>
          <p:txBody>
            <a:bodyPr wrap="square">
              <a:spAutoFit/>
            </a:bodyPr>
            <a:lstStyle/>
            <a:p>
              <a:pPr>
                <a:spcBef>
                  <a:spcPts val="0"/>
                </a:spcBef>
                <a:buClr>
                  <a:srgbClr val="002060"/>
                </a:buClr>
              </a:pPr>
              <a:r>
                <a:rPr lang="en-US" sz="1200" b="1" dirty="0"/>
                <a:t>B</a:t>
              </a:r>
              <a:r>
                <a:rPr lang="en-US" sz="1100" b="1" dirty="0"/>
                <a:t>lob Analysis – </a:t>
              </a:r>
              <a:r>
                <a:rPr lang="en-GB" sz="1100" dirty="0"/>
                <a:t>Detection and Tracking of Human object movements across the store</a:t>
              </a:r>
            </a:p>
            <a:p>
              <a:pPr>
                <a:spcBef>
                  <a:spcPts val="0"/>
                </a:spcBef>
                <a:buClr>
                  <a:srgbClr val="002060"/>
                </a:buClr>
              </a:pPr>
              <a:endParaRPr lang="en-US" sz="1100" b="1" dirty="0"/>
            </a:p>
            <a:p>
              <a:pPr>
                <a:spcBef>
                  <a:spcPts val="0"/>
                </a:spcBef>
                <a:buClr>
                  <a:srgbClr val="002060"/>
                </a:buClr>
              </a:pPr>
              <a:r>
                <a:rPr lang="en-US" sz="1100" b="1" dirty="0"/>
                <a:t>Track &amp; Map – </a:t>
              </a:r>
              <a:r>
                <a:rPr lang="en-GB" sz="1100" dirty="0"/>
                <a:t>Mapping of items picked up by the Human object using RF/BT Analytics &amp; CV</a:t>
              </a:r>
            </a:p>
            <a:p>
              <a:pPr>
                <a:lnSpc>
                  <a:spcPct val="150000"/>
                </a:lnSpc>
                <a:spcBef>
                  <a:spcPts val="0"/>
                </a:spcBef>
                <a:buClr>
                  <a:srgbClr val="002060"/>
                </a:buClr>
              </a:pPr>
              <a:endParaRPr lang="en-US" sz="1100" b="1" dirty="0"/>
            </a:p>
            <a:p>
              <a:pPr>
                <a:buClr>
                  <a:srgbClr val="002060"/>
                </a:buClr>
              </a:pPr>
              <a:r>
                <a:rPr lang="en-US" sz="1100" b="1" dirty="0"/>
                <a:t>Auto Check-out &amp; Billing</a:t>
              </a:r>
              <a:r>
                <a:rPr lang="en-US" sz="1100" dirty="0"/>
                <a:t> – Detection of customer entry &amp; exit. Automatic assignment of item to customers</a:t>
              </a:r>
            </a:p>
          </p:txBody>
        </p:sp>
        <p:pic>
          <p:nvPicPr>
            <p:cNvPr id="81" name="Graphic 19">
              <a:extLst>
                <a:ext uri="{FF2B5EF4-FFF2-40B4-BE49-F238E27FC236}">
                  <a16:creationId xmlns:a16="http://schemas.microsoft.com/office/drawing/2014/main" id="{FB676DAF-654C-4DE4-A60A-0F93618E1A0D}"/>
                </a:ext>
              </a:extLst>
            </p:cNvPr>
            <p:cNvPicPr>
              <a:picLocks noChangeAspect="1"/>
            </p:cNvPicPr>
            <p:nvPr/>
          </p:nvPicPr>
          <p:blipFill>
            <a:blip r:embed="rId24">
              <a:extLst>
                <a:ext uri="{96DAC541-7B7A-43D3-8B79-37D633B846F1}">
                  <asvg:svgBlip xmlns:asvg="http://schemas.microsoft.com/office/drawing/2016/SVG/main" xmlns="" r:embed="rId25"/>
                </a:ext>
              </a:extLst>
            </a:blip>
            <a:stretch>
              <a:fillRect/>
            </a:stretch>
          </p:blipFill>
          <p:spPr>
            <a:xfrm>
              <a:off x="621103" y="5507355"/>
              <a:ext cx="355936" cy="339381"/>
            </a:xfrm>
            <a:prstGeom prst="rect">
              <a:avLst/>
            </a:prstGeom>
          </p:spPr>
        </p:pic>
        <p:pic>
          <p:nvPicPr>
            <p:cNvPr id="82" name="Graphic 22">
              <a:extLst>
                <a:ext uri="{FF2B5EF4-FFF2-40B4-BE49-F238E27FC236}">
                  <a16:creationId xmlns:a16="http://schemas.microsoft.com/office/drawing/2014/main" id="{2F2D7CAF-1B38-4B84-92E2-90BACC445603}"/>
                </a:ext>
              </a:extLst>
            </p:cNvPr>
            <p:cNvPicPr>
              <a:picLocks noChangeAspect="1"/>
            </p:cNvPicPr>
            <p:nvPr/>
          </p:nvPicPr>
          <p:blipFill>
            <a:blip r:embed="rId26">
              <a:extLst>
                <a:ext uri="{96DAC541-7B7A-43D3-8B79-37D633B846F1}">
                  <asvg:svgBlip xmlns:asvg="http://schemas.microsoft.com/office/drawing/2016/SVG/main" xmlns="" r:embed="rId27"/>
                </a:ext>
              </a:extLst>
            </a:blip>
            <a:stretch>
              <a:fillRect/>
            </a:stretch>
          </p:blipFill>
          <p:spPr>
            <a:xfrm>
              <a:off x="649716" y="5033085"/>
              <a:ext cx="299495" cy="291268"/>
            </a:xfrm>
            <a:prstGeom prst="rect">
              <a:avLst/>
            </a:prstGeom>
          </p:spPr>
        </p:pic>
        <p:pic>
          <p:nvPicPr>
            <p:cNvPr id="83" name="Graphic 28">
              <a:extLst>
                <a:ext uri="{FF2B5EF4-FFF2-40B4-BE49-F238E27FC236}">
                  <a16:creationId xmlns:a16="http://schemas.microsoft.com/office/drawing/2014/main" id="{5DCCE607-441E-4A32-B852-0DE8E3C15486}"/>
                </a:ext>
              </a:extLst>
            </p:cNvPr>
            <p:cNvPicPr>
              <a:picLocks noChangeAspect="1"/>
            </p:cNvPicPr>
            <p:nvPr/>
          </p:nvPicPr>
          <p:blipFill>
            <a:blip r:embed="rId28">
              <a:extLst>
                <a:ext uri="{96DAC541-7B7A-43D3-8B79-37D633B846F1}">
                  <asvg:svgBlip xmlns:asvg="http://schemas.microsoft.com/office/drawing/2016/SVG/main" xmlns="" r:embed="rId29"/>
                </a:ext>
              </a:extLst>
            </a:blip>
            <a:stretch>
              <a:fillRect/>
            </a:stretch>
          </p:blipFill>
          <p:spPr>
            <a:xfrm>
              <a:off x="604865" y="6061575"/>
              <a:ext cx="358609" cy="358609"/>
            </a:xfrm>
            <a:prstGeom prst="rect">
              <a:avLst/>
            </a:prstGeom>
          </p:spPr>
        </p:pic>
      </p:grpSp>
      <p:cxnSp>
        <p:nvCxnSpPr>
          <p:cNvPr id="84" name="Straight Connector 83">
            <a:extLst>
              <a:ext uri="{FF2B5EF4-FFF2-40B4-BE49-F238E27FC236}">
                <a16:creationId xmlns:a16="http://schemas.microsoft.com/office/drawing/2014/main" id="{B59964E2-6512-4831-96AA-4A21075607A6}"/>
              </a:ext>
            </a:extLst>
          </p:cNvPr>
          <p:cNvCxnSpPr/>
          <p:nvPr/>
        </p:nvCxnSpPr>
        <p:spPr>
          <a:xfrm>
            <a:off x="6194920" y="4584273"/>
            <a:ext cx="0" cy="1757985"/>
          </a:xfrm>
          <a:prstGeom prst="line">
            <a:avLst/>
          </a:prstGeom>
          <a:ln w="12700"/>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136268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a:t>Big Data and Artificial Intelligence</a:t>
            </a:r>
            <a:endParaRPr lang="en-US" sz="3112" kern="0" dirty="0"/>
          </a:p>
        </p:txBody>
      </p:sp>
      <p:sp>
        <p:nvSpPr>
          <p:cNvPr id="5" name="Rectangle 4"/>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9761" rIns="0" bIns="0" rtlCol="0" anchor="t">
            <a:normAutofit/>
          </a:bodyPr>
          <a:lstStyle/>
          <a:p>
            <a:pPr defTabSz="1016264">
              <a:lnSpc>
                <a:spcPts val="1000"/>
              </a:lnSpc>
            </a:pPr>
            <a:endParaRPr lang="en-GB" sz="611" kern="0" dirty="0">
              <a:latin typeface="Bosch Office Sans"/>
            </a:endParaRPr>
          </a:p>
        </p:txBody>
      </p:sp>
      <p:sp>
        <p:nvSpPr>
          <p:cNvPr id="4" name="TextBox 3" hidden="1"/>
          <p:cNvSpPr txBox="1">
            <a:spLocks/>
          </p:cNvSpPr>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GB" sz="1445" kern="0" dirty="0"/>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GB" sz="3112" dirty="0" smtClean="0">
                <a:solidFill>
                  <a:srgbClr val="08427E"/>
                </a:solidFill>
              </a:rPr>
              <a:t>Crack </a:t>
            </a:r>
            <a:r>
              <a:rPr lang="en-GB" sz="3112" dirty="0">
                <a:solidFill>
                  <a:srgbClr val="08427E"/>
                </a:solidFill>
              </a:rPr>
              <a:t>detection of a sensor (O2 Lambda Sensor)</a:t>
            </a:r>
          </a:p>
        </p:txBody>
      </p:sp>
      <p:graphicFrame>
        <p:nvGraphicFramePr>
          <p:cNvPr id="3" name="Table 2"/>
          <p:cNvGraphicFramePr>
            <a:graphicFrameLocks noGrp="1"/>
          </p:cNvGraphicFramePr>
          <p:nvPr>
            <p:custDataLst>
              <p:tags r:id="rId6"/>
            </p:custDataLst>
            <p:extLst/>
          </p:nvPr>
        </p:nvGraphicFramePr>
        <p:xfrm>
          <a:off x="287680" y="1383925"/>
          <a:ext cx="11643584" cy="4313541"/>
        </p:xfrm>
        <a:graphic>
          <a:graphicData uri="http://schemas.openxmlformats.org/drawingml/2006/table">
            <a:tbl>
              <a:tblPr bandRow="1">
                <a:tableStyleId>{69C7853C-536D-4A76-A0AE-DD22124D55A5}</a:tableStyleId>
              </a:tblPr>
              <a:tblGrid>
                <a:gridCol w="1753041">
                  <a:extLst>
                    <a:ext uri="{9D8B030D-6E8A-4147-A177-3AD203B41FA5}">
                      <a16:colId xmlns:a16="http://schemas.microsoft.com/office/drawing/2014/main" val="20000"/>
                    </a:ext>
                  </a:extLst>
                </a:gridCol>
                <a:gridCol w="9890543">
                  <a:extLst>
                    <a:ext uri="{9D8B030D-6E8A-4147-A177-3AD203B41FA5}">
                      <a16:colId xmlns:a16="http://schemas.microsoft.com/office/drawing/2014/main" val="20001"/>
                    </a:ext>
                  </a:extLst>
                </a:gridCol>
              </a:tblGrid>
              <a:tr h="510361">
                <a:tc>
                  <a:txBody>
                    <a:bodyPr/>
                    <a:lstStyle/>
                    <a:p>
                      <a:pPr algn="ctr"/>
                      <a:r>
                        <a:rPr lang="en-GB" sz="2000" dirty="0" smtClean="0"/>
                        <a:t>Objective</a:t>
                      </a:r>
                      <a:endParaRPr lang="en-GB" sz="2000" dirty="0"/>
                    </a:p>
                  </a:txBody>
                  <a:tcPr marL="101626" marR="101626" marT="50813" marB="50813" anchor="ctr"/>
                </a:tc>
                <a:tc>
                  <a:txBody>
                    <a:bodyPr/>
                    <a:lstStyle/>
                    <a:p>
                      <a:pPr marL="0" marR="0" lvl="0" indent="0" algn="l" defTabSz="8227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kern="0" dirty="0" smtClean="0"/>
                        <a:t>Analyze</a:t>
                      </a:r>
                      <a:r>
                        <a:rPr lang="en-US" sz="2000" kern="0" baseline="0" dirty="0" smtClean="0"/>
                        <a:t> X-Ray images of a sensor to d</a:t>
                      </a:r>
                      <a:r>
                        <a:rPr lang="en-US" sz="2000" kern="0" dirty="0" smtClean="0"/>
                        <a:t>etermine the cracks</a:t>
                      </a:r>
                      <a:endParaRPr lang="en-GB" sz="2000" kern="1200" dirty="0" smtClean="0">
                        <a:solidFill>
                          <a:schemeClr val="dk1"/>
                        </a:solidFill>
                        <a:latin typeface="+mn-lt"/>
                        <a:ea typeface="+mn-ea"/>
                        <a:cs typeface="+mn-cs"/>
                      </a:endParaRPr>
                    </a:p>
                  </a:txBody>
                  <a:tcPr marL="101626" marR="101626" marT="50813" marB="50813" anchor="ctr"/>
                </a:tc>
                <a:extLst>
                  <a:ext uri="{0D108BD9-81ED-4DB2-BD59-A6C34878D82A}">
                    <a16:rowId xmlns:a16="http://schemas.microsoft.com/office/drawing/2014/main" val="10000"/>
                  </a:ext>
                </a:extLst>
              </a:tr>
              <a:tr h="2898947">
                <a:tc>
                  <a:txBody>
                    <a:bodyPr/>
                    <a:lstStyle/>
                    <a:p>
                      <a:pPr marL="0" marR="0" algn="ctr" defTabSz="822716" rtl="0" eaLnBrk="1" fontAlgn="auto" latinLnBrk="0" hangingPunct="1">
                        <a:spcBef>
                          <a:spcPts val="500"/>
                        </a:spcBef>
                        <a:spcAft>
                          <a:spcPts val="0"/>
                        </a:spcAft>
                        <a:buClrTx/>
                        <a:buSzTx/>
                        <a:buFontTx/>
                        <a:buNone/>
                        <a:tabLst/>
                      </a:pPr>
                      <a:r>
                        <a:rPr lang="en-US" sz="2000" kern="1200" noProof="0" dirty="0" smtClean="0"/>
                        <a:t>Approach</a:t>
                      </a:r>
                      <a:endParaRPr lang="en-US" sz="2000" kern="1200" noProof="0" dirty="0" smtClean="0">
                        <a:solidFill>
                          <a:schemeClr val="dk1"/>
                        </a:solidFill>
                        <a:latin typeface="+mn-lt"/>
                        <a:ea typeface="+mn-ea"/>
                        <a:cs typeface="+mn-cs"/>
                      </a:endParaRPr>
                    </a:p>
                  </a:txBody>
                  <a:tcPr marL="101626" marR="101626" marT="50813" marB="50813" anchor="ctr"/>
                </a:tc>
                <a:tc>
                  <a:txBody>
                    <a:bodyPr/>
                    <a:lstStyle/>
                    <a:p>
                      <a:pPr marL="285750" indent="-285750">
                        <a:buFont typeface="Arial" panose="020B0604020202020204" pitchFamily="34" charset="0"/>
                        <a:buChar char="•"/>
                      </a:pPr>
                      <a:r>
                        <a:rPr lang="en-GB" sz="2000" dirty="0" smtClean="0"/>
                        <a:t>Deep Learning</a:t>
                      </a:r>
                    </a:p>
                  </a:txBody>
                  <a:tcPr marL="101626" marR="101626" marT="50813" marB="50813"/>
                </a:tc>
                <a:extLst>
                  <a:ext uri="{0D108BD9-81ED-4DB2-BD59-A6C34878D82A}">
                    <a16:rowId xmlns:a16="http://schemas.microsoft.com/office/drawing/2014/main" val="10001"/>
                  </a:ext>
                </a:extLst>
              </a:tr>
              <a:tr h="904233">
                <a:tc>
                  <a:txBody>
                    <a:bodyPr/>
                    <a:lstStyle/>
                    <a:p>
                      <a:pPr algn="ctr"/>
                      <a:r>
                        <a:rPr lang="en-GB" sz="2000" kern="1200" dirty="0" smtClean="0"/>
                        <a:t>Motivation</a:t>
                      </a:r>
                      <a:endParaRPr lang="en-GB" sz="2000" kern="1200" dirty="0">
                        <a:solidFill>
                          <a:schemeClr val="dk1"/>
                        </a:solidFill>
                        <a:latin typeface="+mn-lt"/>
                        <a:ea typeface="+mn-ea"/>
                        <a:cs typeface="+mn-cs"/>
                      </a:endParaRPr>
                    </a:p>
                  </a:txBody>
                  <a:tcPr marL="101626" marR="101626" marT="50813" marB="50813" anchor="ctr"/>
                </a:tc>
                <a:tc>
                  <a:txBody>
                    <a:bodyPr/>
                    <a:lstStyle/>
                    <a:p>
                      <a:pPr marL="285750" indent="-285750">
                        <a:buFont typeface="Arial" panose="020B0604020202020204" pitchFamily="34" charset="0"/>
                        <a:buChar char="•"/>
                      </a:pPr>
                      <a:r>
                        <a:rPr lang="en-GB" sz="2000" baseline="0" dirty="0" smtClean="0"/>
                        <a:t>Improvement in quality check</a:t>
                      </a:r>
                    </a:p>
                    <a:p>
                      <a:pPr marL="285750" indent="-285750">
                        <a:buFont typeface="Arial" panose="020B0604020202020204" pitchFamily="34" charset="0"/>
                        <a:buChar char="•"/>
                      </a:pPr>
                      <a:r>
                        <a:rPr lang="en-GB" sz="2000" baseline="0" dirty="0" smtClean="0"/>
                        <a:t>Identify cause for failures</a:t>
                      </a:r>
                      <a:endParaRPr lang="en-GB" sz="2000" dirty="0"/>
                    </a:p>
                  </a:txBody>
                  <a:tcPr marL="101626" marR="101626" marT="50813" marB="50813"/>
                </a:tc>
                <a:extLst>
                  <a:ext uri="{0D108BD9-81ED-4DB2-BD59-A6C34878D82A}">
                    <a16:rowId xmlns:a16="http://schemas.microsoft.com/office/drawing/2014/main" val="10002"/>
                  </a:ext>
                </a:extLst>
              </a:tr>
            </a:tbl>
          </a:graphicData>
        </a:graphic>
      </p:graphicFrame>
      <p:grpSp>
        <p:nvGrpSpPr>
          <p:cNvPr id="13" name="Group 12"/>
          <p:cNvGrpSpPr/>
          <p:nvPr/>
        </p:nvGrpSpPr>
        <p:grpSpPr>
          <a:xfrm>
            <a:off x="2124679" y="2828663"/>
            <a:ext cx="5504855" cy="1831217"/>
            <a:chOff x="1925942" y="2185141"/>
            <a:chExt cx="4953095" cy="1647671"/>
          </a:xfrm>
        </p:grpSpPr>
        <p:pic>
          <p:nvPicPr>
            <p:cNvPr id="10" name="Picture 9"/>
            <p:cNvPicPr>
              <a:picLocks noChangeAspect="1"/>
            </p:cNvPicPr>
            <p:nvPr>
              <p:custDataLst>
                <p:tags r:id="rId7"/>
              </p:custDataLst>
            </p:nvPr>
          </p:nvPicPr>
          <p:blipFill>
            <a:blip r:embed="rId11"/>
            <a:stretch>
              <a:fillRect/>
            </a:stretch>
          </p:blipFill>
          <p:spPr>
            <a:xfrm>
              <a:off x="1925942" y="2186892"/>
              <a:ext cx="1934926" cy="1645920"/>
            </a:xfrm>
            <a:prstGeom prst="rect">
              <a:avLst/>
            </a:prstGeom>
          </p:spPr>
        </p:pic>
        <p:pic>
          <p:nvPicPr>
            <p:cNvPr id="12" name="Picture 11"/>
            <p:cNvPicPr>
              <a:picLocks noChangeAspect="1"/>
            </p:cNvPicPr>
            <p:nvPr>
              <p:custDataLst>
                <p:tags r:id="rId8"/>
              </p:custDataLst>
            </p:nvPr>
          </p:nvPicPr>
          <p:blipFill>
            <a:blip r:embed="rId12"/>
            <a:stretch>
              <a:fillRect/>
            </a:stretch>
          </p:blipFill>
          <p:spPr>
            <a:xfrm>
              <a:off x="3982783" y="2185141"/>
              <a:ext cx="2896254" cy="1645920"/>
            </a:xfrm>
            <a:prstGeom prst="rect">
              <a:avLst/>
            </a:prstGeom>
          </p:spPr>
        </p:pic>
      </p:grpSp>
      <p:pic>
        <p:nvPicPr>
          <p:cNvPr id="11" name="Picture 10"/>
          <p:cNvPicPr>
            <a:picLocks noChangeAspect="1"/>
          </p:cNvPicPr>
          <p:nvPr/>
        </p:nvPicPr>
        <p:blipFill>
          <a:blip r:embed="rId13"/>
          <a:stretch>
            <a:fillRect/>
          </a:stretch>
        </p:blipFill>
        <p:spPr>
          <a:xfrm>
            <a:off x="9433715" y="1158821"/>
            <a:ext cx="2052967" cy="1647776"/>
          </a:xfrm>
          <a:prstGeom prst="rect">
            <a:avLst/>
          </a:prstGeom>
        </p:spPr>
      </p:pic>
    </p:spTree>
    <p:custDataLst>
      <p:tags r:id="rId1"/>
    </p:custDataLst>
    <p:extLst>
      <p:ext uri="{BB962C8B-B14F-4D97-AF65-F5344CB8AC3E}">
        <p14:creationId xmlns:p14="http://schemas.microsoft.com/office/powerpoint/2010/main" val="24691069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p:cNvPicPr>
          <p:nvPr>
            <p:custDataLst>
              <p:tags r:id="rId2"/>
            </p:custDataLst>
          </p:nvPr>
        </p:nvPicPr>
        <p:blipFill>
          <a:blip r:embed="rId35">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8" name="TextBox 7"/>
          <p:cNvSpPr txBox="1">
            <a:spLocks/>
          </p:cNvSpPr>
          <p:nvPr>
            <p:custDataLst>
              <p:tags r:id="rId3"/>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a:t>Big Data and Artificial Intelligence</a:t>
            </a:r>
          </a:p>
        </p:txBody>
      </p:sp>
      <p:sp>
        <p:nvSpPr>
          <p:cNvPr id="4" name="Rectangle 3"/>
          <p:cNvSpPr>
            <a:spLocks/>
          </p:cNvSpPr>
          <p:nvPr>
            <p:custDataLst>
              <p:tags r:id="rId4"/>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3" name="TextBox 2" hidden="1"/>
          <p:cNvSpPr txBox="1"/>
          <p:nvPr>
            <p:custDataLst>
              <p:tags r:id="rId5"/>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US" sz="1445" kern="0" dirty="0"/>
          </a:p>
        </p:txBody>
      </p:sp>
      <p:sp>
        <p:nvSpPr>
          <p:cNvPr id="2" name="Title 1"/>
          <p:cNvSpPr>
            <a:spLocks noGrp="1"/>
          </p:cNvSpPr>
          <p:nvPr>
            <p:ph type="title"/>
            <p:custDataLst>
              <p:tags r:id="rId6"/>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Automotive uses-cases</a:t>
            </a:r>
          </a:p>
        </p:txBody>
      </p:sp>
      <p:pic>
        <p:nvPicPr>
          <p:cNvPr id="12" name="Picture 11"/>
          <p:cNvPicPr>
            <a:picLocks noChangeAspect="1"/>
          </p:cNvPicPr>
          <p:nvPr/>
        </p:nvPicPr>
        <p:blipFill>
          <a:blip r:embed="rId36"/>
          <a:stretch>
            <a:fillRect/>
          </a:stretch>
        </p:blipFill>
        <p:spPr>
          <a:xfrm>
            <a:off x="4951794" y="925916"/>
            <a:ext cx="4488254" cy="2484479"/>
          </a:xfrm>
          <a:prstGeom prst="rect">
            <a:avLst/>
          </a:prstGeom>
        </p:spPr>
      </p:pic>
      <p:graphicFrame>
        <p:nvGraphicFramePr>
          <p:cNvPr id="11" name="Diagram 10"/>
          <p:cNvGraphicFramePr/>
          <p:nvPr>
            <p:extLst/>
          </p:nvPr>
        </p:nvGraphicFramePr>
        <p:xfrm>
          <a:off x="343114" y="1647602"/>
          <a:ext cx="3780816" cy="3687360"/>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pSp>
        <p:nvGrpSpPr>
          <p:cNvPr id="14" name="Group 13"/>
          <p:cNvGrpSpPr/>
          <p:nvPr/>
        </p:nvGrpSpPr>
        <p:grpSpPr>
          <a:xfrm>
            <a:off x="7831935" y="3048784"/>
            <a:ext cx="4198471" cy="3394659"/>
            <a:chOff x="4876595" y="1043484"/>
            <a:chExt cx="5947810" cy="4754123"/>
          </a:xfrm>
        </p:grpSpPr>
        <p:sp>
          <p:nvSpPr>
            <p:cNvPr id="92" name="Freeform 91"/>
            <p:cNvSpPr/>
            <p:nvPr>
              <p:custDataLst>
                <p:tags r:id="rId7"/>
              </p:custDataLst>
            </p:nvPr>
          </p:nvSpPr>
          <p:spPr>
            <a:xfrm>
              <a:off x="6149410" y="1243778"/>
              <a:ext cx="1339403" cy="812561"/>
            </a:xfrm>
            <a:custGeom>
              <a:avLst/>
              <a:gdLst>
                <a:gd name="connsiteX0" fmla="*/ 1339403 w 1339403"/>
                <a:gd name="connsiteY0" fmla="*/ 0 h 812561"/>
                <a:gd name="connsiteX1" fmla="*/ 1339403 w 1339403"/>
                <a:gd name="connsiteY1" fmla="*/ 264650 h 812561"/>
                <a:gd name="connsiteX2" fmla="*/ 121989 w 1339403"/>
                <a:gd name="connsiteY2" fmla="*/ 701690 h 812561"/>
                <a:gd name="connsiteX3" fmla="*/ 0 w 1339403"/>
                <a:gd name="connsiteY3" fmla="*/ 812561 h 812561"/>
                <a:gd name="connsiteX4" fmla="*/ 0 w 1339403"/>
                <a:gd name="connsiteY4" fmla="*/ 462812 h 812561"/>
                <a:gd name="connsiteX5" fmla="*/ 121360 w 1339403"/>
                <a:gd name="connsiteY5" fmla="*/ 372061 h 812561"/>
                <a:gd name="connsiteX6" fmla="*/ 1116661 w 1339403"/>
                <a:gd name="connsiteY6" fmla="*/ 11248 h 812561"/>
                <a:gd name="connsiteX7" fmla="*/ 1339403 w 1339403"/>
                <a:gd name="connsiteY7" fmla="*/ 0 h 812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9403" h="812561">
                  <a:moveTo>
                    <a:pt x="1339403" y="0"/>
                  </a:moveTo>
                  <a:lnTo>
                    <a:pt x="1339403" y="264650"/>
                  </a:lnTo>
                  <a:cubicBezTo>
                    <a:pt x="876960" y="264650"/>
                    <a:pt x="452823" y="428662"/>
                    <a:pt x="121989" y="701690"/>
                  </a:cubicBezTo>
                  <a:lnTo>
                    <a:pt x="0" y="812561"/>
                  </a:lnTo>
                  <a:lnTo>
                    <a:pt x="0" y="462812"/>
                  </a:lnTo>
                  <a:lnTo>
                    <a:pt x="121360" y="372061"/>
                  </a:lnTo>
                  <a:cubicBezTo>
                    <a:pt x="411108" y="176311"/>
                    <a:pt x="750480" y="48435"/>
                    <a:pt x="1116661" y="11248"/>
                  </a:cubicBezTo>
                  <a:lnTo>
                    <a:pt x="1339403" y="0"/>
                  </a:lnTo>
                  <a:close/>
                </a:path>
              </a:pathLst>
            </a:custGeom>
            <a:solidFill>
              <a:srgbClr val="1C789F">
                <a:lumMod val="75000"/>
              </a:srgbClr>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3" name="Freeform 92"/>
            <p:cNvSpPr/>
            <p:nvPr>
              <p:custDataLst>
                <p:tags r:id="rId8"/>
              </p:custDataLst>
            </p:nvPr>
          </p:nvSpPr>
          <p:spPr>
            <a:xfrm>
              <a:off x="7566086" y="1247680"/>
              <a:ext cx="1323035" cy="873006"/>
            </a:xfrm>
            <a:custGeom>
              <a:avLst/>
              <a:gdLst>
                <a:gd name="connsiteX0" fmla="*/ 0 w 1323035"/>
                <a:gd name="connsiteY0" fmla="*/ 0 h 873006"/>
                <a:gd name="connsiteX1" fmla="*/ 145471 w 1323035"/>
                <a:gd name="connsiteY1" fmla="*/ 7346 h 873006"/>
                <a:gd name="connsiteX2" fmla="*/ 1308484 w 1323035"/>
                <a:gd name="connsiteY2" fmla="*/ 493571 h 873006"/>
                <a:gd name="connsiteX3" fmla="*/ 1323035 w 1323035"/>
                <a:gd name="connsiteY3" fmla="*/ 506796 h 873006"/>
                <a:gd name="connsiteX4" fmla="*/ 1323035 w 1323035"/>
                <a:gd name="connsiteY4" fmla="*/ 873006 h 873006"/>
                <a:gd name="connsiteX5" fmla="*/ 1276054 w 1323035"/>
                <a:gd name="connsiteY5" fmla="*/ 821314 h 873006"/>
                <a:gd name="connsiteX6" fmla="*/ 118411 w 1323035"/>
                <a:gd name="connsiteY6" fmla="*/ 270629 h 873006"/>
                <a:gd name="connsiteX7" fmla="*/ 0 w 1323035"/>
                <a:gd name="connsiteY7" fmla="*/ 264650 h 873006"/>
                <a:gd name="connsiteX8" fmla="*/ 0 w 1323035"/>
                <a:gd name="connsiteY8" fmla="*/ 0 h 87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035" h="873006">
                  <a:moveTo>
                    <a:pt x="0" y="0"/>
                  </a:moveTo>
                  <a:lnTo>
                    <a:pt x="145471" y="7346"/>
                  </a:lnTo>
                  <a:cubicBezTo>
                    <a:pt x="584889" y="51971"/>
                    <a:pt x="985700" y="227187"/>
                    <a:pt x="1308484" y="493571"/>
                  </a:cubicBezTo>
                  <a:lnTo>
                    <a:pt x="1323035" y="506796"/>
                  </a:lnTo>
                  <a:lnTo>
                    <a:pt x="1323035" y="873006"/>
                  </a:lnTo>
                  <a:lnTo>
                    <a:pt x="1276054" y="821314"/>
                  </a:lnTo>
                  <a:cubicBezTo>
                    <a:pt x="973001" y="518261"/>
                    <a:pt x="568788" y="316367"/>
                    <a:pt x="118411" y="270629"/>
                  </a:cubicBezTo>
                  <a:lnTo>
                    <a:pt x="0" y="264650"/>
                  </a:lnTo>
                  <a:lnTo>
                    <a:pt x="0" y="0"/>
                  </a:lnTo>
                  <a:close/>
                </a:path>
              </a:pathLst>
            </a:custGeom>
            <a:solidFill>
              <a:srgbClr val="1C789F"/>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4" name="Freeform 93"/>
            <p:cNvSpPr/>
            <p:nvPr>
              <p:custDataLst>
                <p:tags r:id="rId9"/>
              </p:custDataLst>
            </p:nvPr>
          </p:nvSpPr>
          <p:spPr>
            <a:xfrm>
              <a:off x="8966393" y="1824706"/>
              <a:ext cx="699012" cy="1558976"/>
            </a:xfrm>
            <a:custGeom>
              <a:avLst/>
              <a:gdLst>
                <a:gd name="connsiteX0" fmla="*/ 0 w 699012"/>
                <a:gd name="connsiteY0" fmla="*/ 0 h 1558976"/>
                <a:gd name="connsiteX1" fmla="*/ 62882 w 699012"/>
                <a:gd name="connsiteY1" fmla="*/ 57152 h 1558976"/>
                <a:gd name="connsiteX2" fmla="*/ 689715 w 699012"/>
                <a:gd name="connsiteY2" fmla="*/ 1374871 h 1558976"/>
                <a:gd name="connsiteX3" fmla="*/ 699012 w 699012"/>
                <a:gd name="connsiteY3" fmla="*/ 1558976 h 1558976"/>
                <a:gd name="connsiteX4" fmla="*/ 434361 w 699012"/>
                <a:gd name="connsiteY4" fmla="*/ 1558976 h 1558976"/>
                <a:gd name="connsiteX5" fmla="*/ 426431 w 699012"/>
                <a:gd name="connsiteY5" fmla="*/ 1401930 h 1558976"/>
                <a:gd name="connsiteX6" fmla="*/ 109449 w 699012"/>
                <a:gd name="connsiteY6" fmla="*/ 527538 h 1558976"/>
                <a:gd name="connsiteX7" fmla="*/ 0 w 699012"/>
                <a:gd name="connsiteY7" fmla="*/ 381173 h 1558976"/>
                <a:gd name="connsiteX8" fmla="*/ 0 w 699012"/>
                <a:gd name="connsiteY8" fmla="*/ 0 h 155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9012" h="1558976">
                  <a:moveTo>
                    <a:pt x="0" y="0"/>
                  </a:moveTo>
                  <a:lnTo>
                    <a:pt x="62882" y="57152"/>
                  </a:lnTo>
                  <a:cubicBezTo>
                    <a:pt x="407842" y="402110"/>
                    <a:pt x="637653" y="862217"/>
                    <a:pt x="689715" y="1374871"/>
                  </a:cubicBezTo>
                  <a:lnTo>
                    <a:pt x="699012" y="1558976"/>
                  </a:lnTo>
                  <a:lnTo>
                    <a:pt x="434361" y="1558976"/>
                  </a:lnTo>
                  <a:lnTo>
                    <a:pt x="426431" y="1401930"/>
                  </a:lnTo>
                  <a:cubicBezTo>
                    <a:pt x="393761" y="1080232"/>
                    <a:pt x="281420" y="782087"/>
                    <a:pt x="109449" y="527538"/>
                  </a:cubicBezTo>
                  <a:lnTo>
                    <a:pt x="0" y="381173"/>
                  </a:lnTo>
                  <a:lnTo>
                    <a:pt x="0" y="0"/>
                  </a:lnTo>
                  <a:close/>
                </a:path>
              </a:pathLst>
            </a:custGeom>
            <a:solidFill>
              <a:srgbClr val="D05126"/>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5" name="Freeform 94"/>
            <p:cNvSpPr/>
            <p:nvPr>
              <p:custDataLst>
                <p:tags r:id="rId10"/>
              </p:custDataLst>
            </p:nvPr>
          </p:nvSpPr>
          <p:spPr>
            <a:xfrm>
              <a:off x="8866501" y="3460956"/>
              <a:ext cx="798904" cy="1287887"/>
            </a:xfrm>
            <a:custGeom>
              <a:avLst/>
              <a:gdLst>
                <a:gd name="connsiteX0" fmla="*/ 534253 w 798904"/>
                <a:gd name="connsiteY0" fmla="*/ 0 h 1287887"/>
                <a:gd name="connsiteX1" fmla="*/ 798904 w 798904"/>
                <a:gd name="connsiteY1" fmla="*/ 0 h 1287887"/>
                <a:gd name="connsiteX2" fmla="*/ 789607 w 798904"/>
                <a:gd name="connsiteY2" fmla="*/ 184108 h 1287887"/>
                <a:gd name="connsiteX3" fmla="*/ 428794 w 798904"/>
                <a:gd name="connsiteY3" fmla="*/ 1179409 h 1287887"/>
                <a:gd name="connsiteX4" fmla="*/ 347676 w 798904"/>
                <a:gd name="connsiteY4" fmla="*/ 1287887 h 1287887"/>
                <a:gd name="connsiteX5" fmla="*/ 0 w 798904"/>
                <a:gd name="connsiteY5" fmla="*/ 1287887 h 1287887"/>
                <a:gd name="connsiteX6" fmla="*/ 99164 w 798904"/>
                <a:gd name="connsiteY6" fmla="*/ 1178779 h 1287887"/>
                <a:gd name="connsiteX7" fmla="*/ 526323 w 798904"/>
                <a:gd name="connsiteY7" fmla="*/ 157049 h 1287887"/>
                <a:gd name="connsiteX8" fmla="*/ 534253 w 798904"/>
                <a:gd name="connsiteY8" fmla="*/ 0 h 128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904" h="1287887">
                  <a:moveTo>
                    <a:pt x="534253" y="0"/>
                  </a:moveTo>
                  <a:lnTo>
                    <a:pt x="798904" y="0"/>
                  </a:lnTo>
                  <a:lnTo>
                    <a:pt x="789607" y="184108"/>
                  </a:lnTo>
                  <a:cubicBezTo>
                    <a:pt x="752420" y="550289"/>
                    <a:pt x="624544" y="889661"/>
                    <a:pt x="428794" y="1179409"/>
                  </a:cubicBezTo>
                  <a:lnTo>
                    <a:pt x="347676" y="1287887"/>
                  </a:lnTo>
                  <a:lnTo>
                    <a:pt x="0" y="1287887"/>
                  </a:lnTo>
                  <a:lnTo>
                    <a:pt x="99164" y="1178779"/>
                  </a:lnTo>
                  <a:cubicBezTo>
                    <a:pt x="333188" y="895207"/>
                    <a:pt x="487119" y="543086"/>
                    <a:pt x="526323" y="157049"/>
                  </a:cubicBezTo>
                  <a:lnTo>
                    <a:pt x="534253" y="0"/>
                  </a:lnTo>
                  <a:close/>
                </a:path>
              </a:pathLst>
            </a:custGeom>
            <a:solidFill>
              <a:srgbClr val="619405"/>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6" name="Freeform 95"/>
            <p:cNvSpPr/>
            <p:nvPr>
              <p:custDataLst>
                <p:tags r:id="rId11"/>
              </p:custDataLst>
            </p:nvPr>
          </p:nvSpPr>
          <p:spPr>
            <a:xfrm>
              <a:off x="6137467" y="4777450"/>
              <a:ext cx="1368650" cy="823414"/>
            </a:xfrm>
            <a:custGeom>
              <a:avLst/>
              <a:gdLst>
                <a:gd name="connsiteX0" fmla="*/ 0 w 1368650"/>
                <a:gd name="connsiteY0" fmla="*/ 0 h 823414"/>
                <a:gd name="connsiteX1" fmla="*/ 133931 w 1368650"/>
                <a:gd name="connsiteY1" fmla="*/ 121724 h 823414"/>
                <a:gd name="connsiteX2" fmla="*/ 1351345 w 1368650"/>
                <a:gd name="connsiteY2" fmla="*/ 558764 h 823414"/>
                <a:gd name="connsiteX3" fmla="*/ 1368650 w 1368650"/>
                <a:gd name="connsiteY3" fmla="*/ 557890 h 823414"/>
                <a:gd name="connsiteX4" fmla="*/ 1368650 w 1368650"/>
                <a:gd name="connsiteY4" fmla="*/ 822540 h 823414"/>
                <a:gd name="connsiteX5" fmla="*/ 1351346 w 1368650"/>
                <a:gd name="connsiteY5" fmla="*/ 823414 h 823414"/>
                <a:gd name="connsiteX6" fmla="*/ 133302 w 1368650"/>
                <a:gd name="connsiteY6" fmla="*/ 451353 h 823414"/>
                <a:gd name="connsiteX7" fmla="*/ 0 w 1368650"/>
                <a:gd name="connsiteY7" fmla="*/ 351672 h 823414"/>
                <a:gd name="connsiteX8" fmla="*/ 0 w 1368650"/>
                <a:gd name="connsiteY8" fmla="*/ 0 h 82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8650" h="823414">
                  <a:moveTo>
                    <a:pt x="0" y="0"/>
                  </a:moveTo>
                  <a:lnTo>
                    <a:pt x="133931" y="121724"/>
                  </a:lnTo>
                  <a:cubicBezTo>
                    <a:pt x="464765" y="394752"/>
                    <a:pt x="888902" y="558764"/>
                    <a:pt x="1351345" y="558764"/>
                  </a:cubicBezTo>
                  <a:lnTo>
                    <a:pt x="1368650" y="557890"/>
                  </a:lnTo>
                  <a:lnTo>
                    <a:pt x="1368650" y="822540"/>
                  </a:lnTo>
                  <a:lnTo>
                    <a:pt x="1351346" y="823414"/>
                  </a:lnTo>
                  <a:cubicBezTo>
                    <a:pt x="900155" y="823414"/>
                    <a:pt x="481000" y="686253"/>
                    <a:pt x="133302" y="451353"/>
                  </a:cubicBezTo>
                  <a:lnTo>
                    <a:pt x="0" y="351672"/>
                  </a:lnTo>
                  <a:lnTo>
                    <a:pt x="0" y="0"/>
                  </a:lnTo>
                  <a:close/>
                </a:path>
              </a:pathLst>
            </a:custGeom>
            <a:solidFill>
              <a:srgbClr val="7B3A90"/>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7" name="Freeform 96"/>
            <p:cNvSpPr/>
            <p:nvPr>
              <p:custDataLst>
                <p:tags r:id="rId12"/>
              </p:custDataLst>
            </p:nvPr>
          </p:nvSpPr>
          <p:spPr>
            <a:xfrm>
              <a:off x="7583390" y="4826116"/>
              <a:ext cx="1570098" cy="769972"/>
            </a:xfrm>
            <a:custGeom>
              <a:avLst/>
              <a:gdLst>
                <a:gd name="connsiteX0" fmla="*/ 1203220 w 1570098"/>
                <a:gd name="connsiteY0" fmla="*/ 0 h 769972"/>
                <a:gd name="connsiteX1" fmla="*/ 1570098 w 1570098"/>
                <a:gd name="connsiteY1" fmla="*/ 0 h 769972"/>
                <a:gd name="connsiteX2" fmla="*/ 1445885 w 1570098"/>
                <a:gd name="connsiteY2" fmla="*/ 136667 h 769972"/>
                <a:gd name="connsiteX3" fmla="*/ 128166 w 1570098"/>
                <a:gd name="connsiteY3" fmla="*/ 763500 h 769972"/>
                <a:gd name="connsiteX4" fmla="*/ 0 w 1570098"/>
                <a:gd name="connsiteY4" fmla="*/ 769972 h 769972"/>
                <a:gd name="connsiteX5" fmla="*/ 0 w 1570098"/>
                <a:gd name="connsiteY5" fmla="*/ 505323 h 769972"/>
                <a:gd name="connsiteX6" fmla="*/ 101106 w 1570098"/>
                <a:gd name="connsiteY6" fmla="*/ 500217 h 769972"/>
                <a:gd name="connsiteX7" fmla="*/ 1122836 w 1570098"/>
                <a:gd name="connsiteY7" fmla="*/ 73058 h 769972"/>
                <a:gd name="connsiteX8" fmla="*/ 1203220 w 1570098"/>
                <a:gd name="connsiteY8" fmla="*/ 0 h 76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098" h="769972">
                  <a:moveTo>
                    <a:pt x="1203220" y="0"/>
                  </a:moveTo>
                  <a:lnTo>
                    <a:pt x="1570098" y="0"/>
                  </a:lnTo>
                  <a:lnTo>
                    <a:pt x="1445885" y="136667"/>
                  </a:lnTo>
                  <a:cubicBezTo>
                    <a:pt x="1100927" y="481627"/>
                    <a:pt x="640820" y="711438"/>
                    <a:pt x="128166" y="763500"/>
                  </a:cubicBezTo>
                  <a:lnTo>
                    <a:pt x="0" y="769972"/>
                  </a:lnTo>
                  <a:lnTo>
                    <a:pt x="0" y="505323"/>
                  </a:lnTo>
                  <a:lnTo>
                    <a:pt x="101106" y="500217"/>
                  </a:lnTo>
                  <a:cubicBezTo>
                    <a:pt x="487144" y="461013"/>
                    <a:pt x="839264" y="307082"/>
                    <a:pt x="1122836" y="73058"/>
                  </a:cubicBezTo>
                  <a:lnTo>
                    <a:pt x="1203220" y="0"/>
                  </a:lnTo>
                  <a:close/>
                </a:path>
              </a:pathLst>
            </a:custGeom>
            <a:solidFill>
              <a:srgbClr val="F79A00"/>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8" name="Oval 97"/>
            <p:cNvSpPr/>
            <p:nvPr>
              <p:custDataLst>
                <p:tags r:id="rId13"/>
              </p:custDataLst>
            </p:nvPr>
          </p:nvSpPr>
          <p:spPr>
            <a:xfrm>
              <a:off x="5776707" y="1650058"/>
              <a:ext cx="668134" cy="668134"/>
            </a:xfrm>
            <a:prstGeom prst="ellipse">
              <a:avLst/>
            </a:prstGeom>
            <a:solidFill>
              <a:srgbClr val="F8F4E9"/>
            </a:solidFill>
            <a:ln w="76200" cap="flat" cmpd="sng" algn="ctr">
              <a:solidFill>
                <a:srgbClr val="1C789F">
                  <a:lumMod val="75000"/>
                </a:srgbClr>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99" name="Oval 98"/>
            <p:cNvSpPr/>
            <p:nvPr>
              <p:custDataLst>
                <p:tags r:id="rId14"/>
              </p:custDataLst>
            </p:nvPr>
          </p:nvSpPr>
          <p:spPr>
            <a:xfrm>
              <a:off x="7193382" y="1043484"/>
              <a:ext cx="668134" cy="668134"/>
            </a:xfrm>
            <a:prstGeom prst="ellipse">
              <a:avLst/>
            </a:prstGeom>
            <a:solidFill>
              <a:srgbClr val="F8F4E9"/>
            </a:solidFill>
            <a:ln w="76200" cap="flat" cmpd="sng" algn="ctr">
              <a:solidFill>
                <a:srgbClr val="1C789F"/>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0" name="Oval 99"/>
            <p:cNvSpPr/>
            <p:nvPr>
              <p:custDataLst>
                <p:tags r:id="rId15"/>
              </p:custDataLst>
            </p:nvPr>
          </p:nvSpPr>
          <p:spPr>
            <a:xfrm>
              <a:off x="8601603" y="1650058"/>
              <a:ext cx="668134" cy="668134"/>
            </a:xfrm>
            <a:prstGeom prst="ellipse">
              <a:avLst/>
            </a:prstGeom>
            <a:solidFill>
              <a:srgbClr val="F8F4E9"/>
            </a:solidFill>
            <a:ln w="76200" cap="flat" cmpd="sng" algn="ctr">
              <a:solidFill>
                <a:srgbClr val="D05126"/>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1" name="Oval 100"/>
            <p:cNvSpPr/>
            <p:nvPr>
              <p:custDataLst>
                <p:tags r:id="rId16"/>
              </p:custDataLst>
            </p:nvPr>
          </p:nvSpPr>
          <p:spPr>
            <a:xfrm>
              <a:off x="9201455" y="3081726"/>
              <a:ext cx="668134" cy="668134"/>
            </a:xfrm>
            <a:prstGeom prst="ellipse">
              <a:avLst/>
            </a:prstGeom>
            <a:solidFill>
              <a:srgbClr val="F8F4E9"/>
            </a:solidFill>
            <a:ln w="76200" cap="flat" cmpd="sng" algn="ctr">
              <a:solidFill>
                <a:srgbClr val="619405"/>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2" name="Oval 101"/>
            <p:cNvSpPr/>
            <p:nvPr>
              <p:custDataLst>
                <p:tags r:id="rId17"/>
              </p:custDataLst>
            </p:nvPr>
          </p:nvSpPr>
          <p:spPr>
            <a:xfrm>
              <a:off x="8655917" y="4502991"/>
              <a:ext cx="668134" cy="668134"/>
            </a:xfrm>
            <a:prstGeom prst="ellipse">
              <a:avLst/>
            </a:prstGeom>
            <a:solidFill>
              <a:srgbClr val="F8F4E9"/>
            </a:solidFill>
            <a:ln w="76200" cap="flat" cmpd="sng" algn="ctr">
              <a:solidFill>
                <a:srgbClr val="F79A00"/>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3" name="Oval 102"/>
            <p:cNvSpPr/>
            <p:nvPr>
              <p:custDataLst>
                <p:tags r:id="rId18"/>
              </p:custDataLst>
            </p:nvPr>
          </p:nvSpPr>
          <p:spPr>
            <a:xfrm>
              <a:off x="7206261" y="5129473"/>
              <a:ext cx="668134" cy="668134"/>
            </a:xfrm>
            <a:prstGeom prst="ellipse">
              <a:avLst/>
            </a:prstGeom>
            <a:solidFill>
              <a:srgbClr val="F8F4E9"/>
            </a:solidFill>
            <a:ln w="76200" cap="flat" cmpd="sng" algn="ctr">
              <a:solidFill>
                <a:srgbClr val="7B3A90"/>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4" name="Oval 103"/>
            <p:cNvSpPr/>
            <p:nvPr>
              <p:custDataLst>
                <p:tags r:id="rId19"/>
              </p:custDataLst>
            </p:nvPr>
          </p:nvSpPr>
          <p:spPr>
            <a:xfrm>
              <a:off x="5776767" y="4554234"/>
              <a:ext cx="668134" cy="668134"/>
            </a:xfrm>
            <a:prstGeom prst="ellipse">
              <a:avLst/>
            </a:prstGeom>
            <a:solidFill>
              <a:srgbClr val="F8F4E9"/>
            </a:solidFill>
            <a:ln w="76200" cap="flat" cmpd="sng" algn="ctr">
              <a:solidFill>
                <a:srgbClr val="70AD47"/>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5" name="Rectangle 104"/>
            <p:cNvSpPr/>
            <p:nvPr>
              <p:custDataLst>
                <p:tags r:id="rId20"/>
              </p:custDataLst>
            </p:nvPr>
          </p:nvSpPr>
          <p:spPr>
            <a:xfrm>
              <a:off x="4876595" y="2355385"/>
              <a:ext cx="2008882" cy="632360"/>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Enabled Pixel Labelling with freehand tools</a:t>
              </a:r>
              <a:endParaRPr sz="778" b="1" dirty="0">
                <a:solidFill>
                  <a:srgbClr val="21221F">
                    <a:lumMod val="75000"/>
                    <a:lumOff val="25000"/>
                  </a:srgbClr>
                </a:solidFill>
                <a:latin typeface="Source Sans Pro"/>
              </a:endParaRPr>
            </a:p>
          </p:txBody>
        </p:sp>
        <p:sp>
          <p:nvSpPr>
            <p:cNvPr id="106" name="TextBox 105"/>
            <p:cNvSpPr txBox="1"/>
            <p:nvPr>
              <p:custDataLst>
                <p:tags r:id="rId21"/>
              </p:custDataLst>
            </p:nvPr>
          </p:nvSpPr>
          <p:spPr>
            <a:xfrm>
              <a:off x="5994890" y="1866125"/>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1</a:t>
              </a:r>
            </a:p>
          </p:txBody>
        </p:sp>
        <p:sp>
          <p:nvSpPr>
            <p:cNvPr id="107" name="TextBox 106"/>
            <p:cNvSpPr txBox="1"/>
            <p:nvPr>
              <p:custDataLst>
                <p:tags r:id="rId22"/>
              </p:custDataLst>
            </p:nvPr>
          </p:nvSpPr>
          <p:spPr>
            <a:xfrm>
              <a:off x="7421945" y="1253649"/>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2</a:t>
              </a:r>
            </a:p>
          </p:txBody>
        </p:sp>
        <p:sp>
          <p:nvSpPr>
            <p:cNvPr id="108" name="TextBox 107"/>
            <p:cNvSpPr txBox="1"/>
            <p:nvPr>
              <p:custDataLst>
                <p:tags r:id="rId23"/>
              </p:custDataLst>
            </p:nvPr>
          </p:nvSpPr>
          <p:spPr>
            <a:xfrm>
              <a:off x="8842587" y="1884618"/>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3</a:t>
              </a:r>
            </a:p>
          </p:txBody>
        </p:sp>
        <p:sp>
          <p:nvSpPr>
            <p:cNvPr id="109" name="TextBox 108"/>
            <p:cNvSpPr txBox="1"/>
            <p:nvPr>
              <p:custDataLst>
                <p:tags r:id="rId24"/>
              </p:custDataLst>
            </p:nvPr>
          </p:nvSpPr>
          <p:spPr>
            <a:xfrm>
              <a:off x="9408230" y="3305892"/>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4</a:t>
              </a:r>
            </a:p>
          </p:txBody>
        </p:sp>
        <p:sp>
          <p:nvSpPr>
            <p:cNvPr id="110" name="TextBox 109"/>
            <p:cNvSpPr txBox="1"/>
            <p:nvPr>
              <p:custDataLst>
                <p:tags r:id="rId25"/>
              </p:custDataLst>
            </p:nvPr>
          </p:nvSpPr>
          <p:spPr>
            <a:xfrm>
              <a:off x="8889121" y="4729379"/>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5</a:t>
              </a:r>
            </a:p>
          </p:txBody>
        </p:sp>
        <p:sp>
          <p:nvSpPr>
            <p:cNvPr id="111" name="TextBox 110"/>
            <p:cNvSpPr txBox="1"/>
            <p:nvPr>
              <p:custDataLst>
                <p:tags r:id="rId26"/>
              </p:custDataLst>
            </p:nvPr>
          </p:nvSpPr>
          <p:spPr>
            <a:xfrm>
              <a:off x="7433080" y="5341950"/>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6</a:t>
              </a:r>
            </a:p>
          </p:txBody>
        </p:sp>
        <p:sp>
          <p:nvSpPr>
            <p:cNvPr id="112" name="TextBox 111"/>
            <p:cNvSpPr txBox="1"/>
            <p:nvPr>
              <p:custDataLst>
                <p:tags r:id="rId27"/>
              </p:custDataLst>
            </p:nvPr>
          </p:nvSpPr>
          <p:spPr>
            <a:xfrm>
              <a:off x="5982637" y="4751023"/>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7</a:t>
              </a:r>
            </a:p>
          </p:txBody>
        </p:sp>
        <p:sp>
          <p:nvSpPr>
            <p:cNvPr id="113" name="Rectangle 112"/>
            <p:cNvSpPr/>
            <p:nvPr>
              <p:custDataLst>
                <p:tags r:id="rId28"/>
              </p:custDataLst>
            </p:nvPr>
          </p:nvSpPr>
          <p:spPr>
            <a:xfrm>
              <a:off x="6835330" y="1718996"/>
              <a:ext cx="1576693" cy="632360"/>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Pre-label correction modes</a:t>
              </a:r>
              <a:endParaRPr sz="778" b="1" dirty="0">
                <a:solidFill>
                  <a:srgbClr val="21221F">
                    <a:lumMod val="75000"/>
                    <a:lumOff val="25000"/>
                  </a:srgbClr>
                </a:solidFill>
                <a:latin typeface="Source Sans Pro"/>
              </a:endParaRPr>
            </a:p>
          </p:txBody>
        </p:sp>
        <p:sp>
          <p:nvSpPr>
            <p:cNvPr id="114" name="Rectangle 113"/>
            <p:cNvSpPr/>
            <p:nvPr>
              <p:custDataLst>
                <p:tags r:id="rId29"/>
              </p:custDataLst>
            </p:nvPr>
          </p:nvSpPr>
          <p:spPr>
            <a:xfrm>
              <a:off x="9474935" y="1821883"/>
              <a:ext cx="1349470" cy="1135411"/>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Semi-automatic labelling </a:t>
              </a:r>
              <a:r>
                <a:rPr lang="en-US" sz="778" b="1" dirty="0">
                  <a:solidFill>
                    <a:srgbClr val="21221F">
                      <a:lumMod val="75000"/>
                      <a:lumOff val="25000"/>
                    </a:srgbClr>
                  </a:solidFill>
                  <a:latin typeface="Source Sans Pro"/>
                  <a:sym typeface="Wingdings" panose="05000000000000000000" pitchFamily="2" charset="2"/>
                </a:rPr>
                <a:t>with Watershed brush</a:t>
              </a:r>
              <a:endParaRPr sz="778" b="1" dirty="0">
                <a:solidFill>
                  <a:srgbClr val="21221F">
                    <a:lumMod val="75000"/>
                    <a:lumOff val="25000"/>
                  </a:srgbClr>
                </a:solidFill>
                <a:latin typeface="Source Sans Pro"/>
              </a:endParaRPr>
            </a:p>
          </p:txBody>
        </p:sp>
        <p:sp>
          <p:nvSpPr>
            <p:cNvPr id="115" name="Rectangle 114"/>
            <p:cNvSpPr/>
            <p:nvPr>
              <p:custDataLst>
                <p:tags r:id="rId30"/>
              </p:custDataLst>
            </p:nvPr>
          </p:nvSpPr>
          <p:spPr>
            <a:xfrm>
              <a:off x="9474935" y="4254153"/>
              <a:ext cx="1349470" cy="632360"/>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Smart contour tool Integration</a:t>
              </a:r>
              <a:endParaRPr sz="778" b="1" dirty="0">
                <a:solidFill>
                  <a:srgbClr val="21221F">
                    <a:lumMod val="75000"/>
                    <a:lumOff val="25000"/>
                  </a:srgbClr>
                </a:solidFill>
                <a:latin typeface="Source Sans Pro"/>
              </a:endParaRPr>
            </a:p>
          </p:txBody>
        </p:sp>
        <p:sp>
          <p:nvSpPr>
            <p:cNvPr id="116" name="Rectangle 115"/>
            <p:cNvSpPr/>
            <p:nvPr>
              <p:custDataLst>
                <p:tags r:id="rId31"/>
              </p:custDataLst>
            </p:nvPr>
          </p:nvSpPr>
          <p:spPr>
            <a:xfrm>
              <a:off x="7916485" y="3188083"/>
              <a:ext cx="1349470" cy="883887"/>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Uncertain region Visualizations</a:t>
              </a:r>
              <a:endParaRPr sz="778" b="1" dirty="0">
                <a:solidFill>
                  <a:srgbClr val="21221F">
                    <a:lumMod val="75000"/>
                    <a:lumOff val="25000"/>
                  </a:srgbClr>
                </a:solidFill>
                <a:latin typeface="Source Sans Pro"/>
              </a:endParaRPr>
            </a:p>
          </p:txBody>
        </p:sp>
        <p:sp>
          <p:nvSpPr>
            <p:cNvPr id="117" name="Rectangle 116"/>
            <p:cNvSpPr/>
            <p:nvPr>
              <p:custDataLst>
                <p:tags r:id="rId32"/>
              </p:custDataLst>
            </p:nvPr>
          </p:nvSpPr>
          <p:spPr>
            <a:xfrm>
              <a:off x="6769418" y="4526646"/>
              <a:ext cx="1814753" cy="632360"/>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One mode Fusion – Layered Segmentation</a:t>
              </a:r>
              <a:endParaRPr sz="778" b="1" dirty="0">
                <a:solidFill>
                  <a:srgbClr val="21221F">
                    <a:lumMod val="75000"/>
                    <a:lumOff val="25000"/>
                  </a:srgbClr>
                </a:solidFill>
                <a:latin typeface="Source Sans Pro"/>
              </a:endParaRPr>
            </a:p>
          </p:txBody>
        </p:sp>
        <p:sp>
          <p:nvSpPr>
            <p:cNvPr id="118" name="Rectangle 117"/>
            <p:cNvSpPr/>
            <p:nvPr>
              <p:custDataLst>
                <p:tags r:id="rId33"/>
              </p:custDataLst>
            </p:nvPr>
          </p:nvSpPr>
          <p:spPr>
            <a:xfrm>
              <a:off x="4876595" y="3627770"/>
              <a:ext cx="2161643" cy="883887"/>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Other Key feature additions | visualizations | workflow refinements</a:t>
              </a:r>
              <a:endParaRPr sz="778" b="1" dirty="0">
                <a:solidFill>
                  <a:srgbClr val="21221F">
                    <a:lumMod val="75000"/>
                    <a:lumOff val="25000"/>
                  </a:srgbClr>
                </a:solidFill>
                <a:latin typeface="Source Sans Pro"/>
              </a:endParaRPr>
            </a:p>
          </p:txBody>
        </p:sp>
      </p:grpSp>
    </p:spTree>
    <p:custDataLst>
      <p:tags r:id="rId1"/>
    </p:custDataLst>
    <p:extLst>
      <p:ext uri="{BB962C8B-B14F-4D97-AF65-F5344CB8AC3E}">
        <p14:creationId xmlns:p14="http://schemas.microsoft.com/office/powerpoint/2010/main" val="6598459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p:cNvPicPr>
          <p:nvPr>
            <p:custDataLst>
              <p:tags r:id="rId2"/>
            </p:custDataLst>
          </p:nvPr>
        </p:nvPicPr>
        <p:blipFill>
          <a:blip r:embed="rId9"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9" name="Picture 8"/>
          <p:cNvPicPr>
            <a:picLocks/>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8" name="TextBox 7"/>
          <p:cNvSpPr txBox="1">
            <a:spLocks/>
          </p:cNvSpPr>
          <p:nvPr>
            <p:custDataLst>
              <p:tags r:id="rId4"/>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a:t>Big Data and Artificial Intelligence</a:t>
            </a:r>
          </a:p>
        </p:txBody>
      </p:sp>
      <p:sp>
        <p:nvSpPr>
          <p:cNvPr id="4" name="Rectangle 3"/>
          <p:cNvSpPr>
            <a:spLocks/>
          </p:cNvSpPr>
          <p:nvPr>
            <p:custDataLst>
              <p:tags r:id="rId5"/>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3" name="TextBox 2" hidden="1"/>
          <p:cNvSpPr txBox="1"/>
          <p:nvPr>
            <p:custDataLst>
              <p:tags r:id="rId6"/>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US" sz="1445" kern="0" dirty="0"/>
          </a:p>
        </p:txBody>
      </p:sp>
      <p:sp>
        <p:nvSpPr>
          <p:cNvPr id="2" name="Title 1"/>
          <p:cNvSpPr>
            <a:spLocks noGrp="1"/>
          </p:cNvSpPr>
          <p:nvPr>
            <p:ph type="title"/>
            <p:custDataLst>
              <p:tags r:id="rId7"/>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In-Car Entertainment &amp; Safety</a:t>
            </a:r>
          </a:p>
        </p:txBody>
      </p:sp>
      <p:graphicFrame>
        <p:nvGraphicFramePr>
          <p:cNvPr id="11" name="Diagram 10"/>
          <p:cNvGraphicFramePr/>
          <p:nvPr>
            <p:extLst/>
          </p:nvPr>
        </p:nvGraphicFramePr>
        <p:xfrm>
          <a:off x="343114" y="1647602"/>
          <a:ext cx="3780816" cy="368736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nvGrpSpPr>
          <p:cNvPr id="16" name="Group 15"/>
          <p:cNvGrpSpPr/>
          <p:nvPr/>
        </p:nvGrpSpPr>
        <p:grpSpPr>
          <a:xfrm>
            <a:off x="6608204" y="644476"/>
            <a:ext cx="4237760" cy="2371701"/>
            <a:chOff x="6375983" y="486322"/>
            <a:chExt cx="3833420" cy="2475952"/>
          </a:xfrm>
        </p:grpSpPr>
        <p:pic>
          <p:nvPicPr>
            <p:cNvPr id="13" name="Picture 1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75983" y="486322"/>
              <a:ext cx="3833420" cy="1464874"/>
            </a:xfrm>
            <a:prstGeom prst="rect">
              <a:avLst/>
            </a:prstGeom>
          </p:spPr>
        </p:pic>
        <p:pic>
          <p:nvPicPr>
            <p:cNvPr id="14" name="Picture 1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75983" y="1953723"/>
              <a:ext cx="3682418" cy="1008551"/>
            </a:xfrm>
            <a:prstGeom prst="rect">
              <a:avLst/>
            </a:prstGeom>
          </p:spPr>
        </p:pic>
      </p:grpSp>
      <p:grpSp>
        <p:nvGrpSpPr>
          <p:cNvPr id="20" name="Group 19"/>
          <p:cNvGrpSpPr/>
          <p:nvPr/>
        </p:nvGrpSpPr>
        <p:grpSpPr>
          <a:xfrm>
            <a:off x="5872635" y="3547538"/>
            <a:ext cx="2371277" cy="2371277"/>
            <a:chOff x="4102735" y="3251834"/>
            <a:chExt cx="2133600" cy="2133600"/>
          </a:xfrm>
        </p:grpSpPr>
        <p:pic>
          <p:nvPicPr>
            <p:cNvPr id="12" name="Picture 1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102735" y="3251834"/>
              <a:ext cx="2133600" cy="2133600"/>
            </a:xfrm>
            <a:prstGeom prst="rect">
              <a:avLst/>
            </a:prstGeom>
          </p:spPr>
        </p:pic>
        <p:sp>
          <p:nvSpPr>
            <p:cNvPr id="17" name="Rectangle 16"/>
            <p:cNvSpPr/>
            <p:nvPr/>
          </p:nvSpPr>
          <p:spPr>
            <a:xfrm>
              <a:off x="5354374" y="3325091"/>
              <a:ext cx="606340" cy="552552"/>
            </a:xfrm>
            <a:prstGeom prst="rect">
              <a:avLst/>
            </a:prstGeom>
            <a:no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1"/>
            </a:p>
          </p:txBody>
        </p:sp>
      </p:grpSp>
      <p:pic>
        <p:nvPicPr>
          <p:cNvPr id="19" name="Picture 1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36405" y="3037000"/>
            <a:ext cx="1845847" cy="3198187"/>
          </a:xfrm>
          <a:prstGeom prst="rect">
            <a:avLst/>
          </a:prstGeom>
        </p:spPr>
      </p:pic>
      <p:sp>
        <p:nvSpPr>
          <p:cNvPr id="21" name="Rectangle 20"/>
          <p:cNvSpPr/>
          <p:nvPr/>
        </p:nvSpPr>
        <p:spPr>
          <a:xfrm>
            <a:off x="7313964" y="3564044"/>
            <a:ext cx="573361" cy="2962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112" b="1" dirty="0">
                <a:solidFill>
                  <a:srgbClr val="FF0000"/>
                </a:solidFill>
              </a:rPr>
              <a:t>+</a:t>
            </a:r>
            <a:endParaRPr lang="en-GB" sz="2001" b="1" dirty="0">
              <a:solidFill>
                <a:srgbClr val="FF0000"/>
              </a:solidFill>
            </a:endParaRPr>
          </a:p>
        </p:txBody>
      </p:sp>
    </p:spTree>
    <p:custDataLst>
      <p:tags r:id="rId1"/>
    </p:custDataLst>
    <p:extLst>
      <p:ext uri="{BB962C8B-B14F-4D97-AF65-F5344CB8AC3E}">
        <p14:creationId xmlns:p14="http://schemas.microsoft.com/office/powerpoint/2010/main" val="21598074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p:cNvPicPr>
          <p:nvPr>
            <p:custDataLst>
              <p:tags r:id="rId2"/>
            </p:custDataLst>
          </p:nvPr>
        </p:nvPicPr>
        <p:blipFill>
          <a:blip r:embed="rId15"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9" name="Picture 8"/>
          <p:cNvPicPr>
            <a:picLocks/>
          </p:cNvPicPr>
          <p:nvPr>
            <p:custDataLst>
              <p:tags r:id="rId3"/>
            </p:custDataLst>
          </p:nvPr>
        </p:nvPicPr>
        <p:blipFill>
          <a:blip r:embed="rId16">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8" name="TextBox 7"/>
          <p:cNvSpPr txBox="1">
            <a:spLocks/>
          </p:cNvSpPr>
          <p:nvPr>
            <p:custDataLst>
              <p:tags r:id="rId4"/>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a:t>Big Data and Artificial Intelligence</a:t>
            </a:r>
          </a:p>
        </p:txBody>
      </p:sp>
      <p:sp>
        <p:nvSpPr>
          <p:cNvPr id="4" name="Rectangle 3"/>
          <p:cNvSpPr>
            <a:spLocks/>
          </p:cNvSpPr>
          <p:nvPr>
            <p:custDataLst>
              <p:tags r:id="rId5"/>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3" name="TextBox 2" hidden="1"/>
          <p:cNvSpPr txBox="1"/>
          <p:nvPr>
            <p:custDataLst>
              <p:tags r:id="rId6"/>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US" sz="1445" kern="0" dirty="0"/>
          </a:p>
        </p:txBody>
      </p:sp>
      <p:sp>
        <p:nvSpPr>
          <p:cNvPr id="2" name="Title 1"/>
          <p:cNvSpPr>
            <a:spLocks noGrp="1"/>
          </p:cNvSpPr>
          <p:nvPr>
            <p:ph type="title"/>
            <p:custDataLst>
              <p:tags r:id="rId7"/>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Infrastructure, Urban Planning</a:t>
            </a:r>
          </a:p>
        </p:txBody>
      </p:sp>
      <p:graphicFrame>
        <p:nvGraphicFramePr>
          <p:cNvPr id="11" name="Diagram 10"/>
          <p:cNvGraphicFramePr/>
          <p:nvPr>
            <p:extLst/>
          </p:nvPr>
        </p:nvGraphicFramePr>
        <p:xfrm>
          <a:off x="343114" y="1647602"/>
          <a:ext cx="4701096" cy="368736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20" name="Group 19"/>
          <p:cNvGrpSpPr/>
          <p:nvPr/>
        </p:nvGrpSpPr>
        <p:grpSpPr>
          <a:xfrm>
            <a:off x="8308802" y="3152962"/>
            <a:ext cx="2936141" cy="1075491"/>
            <a:chOff x="4405305" y="2330169"/>
            <a:chExt cx="3318279" cy="1120702"/>
          </a:xfrm>
        </p:grpSpPr>
        <p:pic>
          <p:nvPicPr>
            <p:cNvPr id="21" name="Picture 20"/>
            <p:cNvPicPr>
              <a:picLocks noChangeAspect="1"/>
            </p:cNvPicPr>
            <p:nvPr>
              <p:custDataLst>
                <p:tags r:id="rId12"/>
              </p:custDataLst>
            </p:nvPr>
          </p:nvPicPr>
          <p:blipFill>
            <a:blip r:embed="rId22"/>
            <a:stretch>
              <a:fillRect/>
            </a:stretch>
          </p:blipFill>
          <p:spPr>
            <a:xfrm>
              <a:off x="4405305" y="2330169"/>
              <a:ext cx="3318279" cy="1120702"/>
            </a:xfrm>
            <a:prstGeom prst="rect">
              <a:avLst/>
            </a:prstGeom>
          </p:spPr>
        </p:pic>
        <p:pic>
          <p:nvPicPr>
            <p:cNvPr id="22" name="Picture 21"/>
            <p:cNvPicPr>
              <a:picLocks noChangeAspect="1"/>
            </p:cNvPicPr>
            <p:nvPr>
              <p:custDataLst>
                <p:tags r:id="rId13"/>
              </p:custDataLst>
            </p:nvPr>
          </p:nvPicPr>
          <p:blipFill>
            <a:blip r:embed="rId23"/>
            <a:stretch>
              <a:fillRect/>
            </a:stretch>
          </p:blipFill>
          <p:spPr>
            <a:xfrm>
              <a:off x="6427440" y="2582044"/>
              <a:ext cx="576064" cy="94747"/>
            </a:xfrm>
            <a:prstGeom prst="rect">
              <a:avLst/>
            </a:prstGeom>
            <a:ln w="19050">
              <a:solidFill>
                <a:schemeClr val="tx1"/>
              </a:solidFill>
            </a:ln>
          </p:spPr>
        </p:pic>
      </p:grpSp>
      <p:pic>
        <p:nvPicPr>
          <p:cNvPr id="23" name="Picture 22"/>
          <p:cNvPicPr>
            <a:picLocks/>
          </p:cNvPicPr>
          <p:nvPr>
            <p:custDataLst>
              <p:tags r:id="rId8"/>
            </p:custDataLst>
          </p:nvPr>
        </p:nvPicPr>
        <p:blipFill>
          <a:blip r:embed="rId24" cstate="print">
            <a:extLst>
              <a:ext uri="{28A0092B-C50C-407E-A947-70E740481C1C}">
                <a14:useLocalDpi xmlns:a14="http://schemas.microsoft.com/office/drawing/2010/main" val="0"/>
              </a:ext>
            </a:extLst>
          </a:blip>
          <a:stretch>
            <a:fillRect/>
          </a:stretch>
        </p:blipFill>
        <p:spPr>
          <a:xfrm>
            <a:off x="8242216" y="4884689"/>
            <a:ext cx="1482255" cy="893070"/>
          </a:xfrm>
          <a:prstGeom prst="rect">
            <a:avLst/>
          </a:prstGeom>
        </p:spPr>
      </p:pic>
      <p:pic>
        <p:nvPicPr>
          <p:cNvPr id="24" name="Picture 23"/>
          <p:cNvPicPr>
            <a:picLocks/>
          </p:cNvPicPr>
          <p:nvPr>
            <p:custDataLst>
              <p:tags r:id="rId9"/>
            </p:custDataLst>
          </p:nvPr>
        </p:nvPicPr>
        <p:blipFill>
          <a:blip r:embed="rId25" cstate="print">
            <a:extLst>
              <a:ext uri="{28A0092B-C50C-407E-A947-70E740481C1C}">
                <a14:useLocalDpi xmlns:a14="http://schemas.microsoft.com/office/drawing/2010/main" val="0"/>
              </a:ext>
            </a:extLst>
          </a:blip>
          <a:stretch>
            <a:fillRect/>
          </a:stretch>
        </p:blipFill>
        <p:spPr>
          <a:xfrm>
            <a:off x="10207610" y="4892164"/>
            <a:ext cx="1248478" cy="885594"/>
          </a:xfrm>
          <a:prstGeom prst="rect">
            <a:avLst/>
          </a:prstGeom>
        </p:spPr>
      </p:pic>
      <p:sp>
        <p:nvSpPr>
          <p:cNvPr id="25" name="Title 1_"/>
          <p:cNvSpPr txBox="1">
            <a:spLocks/>
          </p:cNvSpPr>
          <p:nvPr>
            <p:custDataLst>
              <p:tags r:id="rId10"/>
            </p:custDataLst>
          </p:nvPr>
        </p:nvSpPr>
        <p:spPr bwMode="auto">
          <a:xfrm>
            <a:off x="8308801" y="2927239"/>
            <a:ext cx="4754999" cy="592819"/>
          </a:xfrm>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14115" rIns="0" bIns="0" numCol="1" anchor="t" anchorCtr="0" compatLnSpc="1">
            <a:prstTxWarp prst="textNoShape">
              <a:avLst/>
            </a:prstTxWarp>
          </a:bodyPr>
          <a:lstStyle>
            <a:lvl1pPr algn="l" rtl="0" eaLnBrk="0" fontAlgn="base" hangingPunct="0">
              <a:lnSpc>
                <a:spcPct val="111000"/>
              </a:lnSpc>
              <a:spcBef>
                <a:spcPts val="0"/>
              </a:spcBef>
              <a:spcAft>
                <a:spcPts val="0"/>
              </a:spcAft>
              <a:buFontTx/>
              <a:buNone/>
              <a:defRPr sz="2700" b="0" i="0" u="none" spc="0">
                <a:solidFill>
                  <a:srgbClr val="000000"/>
                </a:solidFill>
                <a:latin typeface="Bosch Office Sans" panose="020B0604020202020204" pitchFamily="34" charset="0"/>
                <a:ea typeface="+mj-ea"/>
                <a:cs typeface="+mj-cs"/>
              </a:defRPr>
            </a:lvl1pPr>
            <a:lvl2pPr algn="l" rtl="0" eaLnBrk="0" fontAlgn="base" hangingPunct="0">
              <a:lnSpc>
                <a:spcPct val="111000"/>
              </a:lnSpc>
              <a:spcBef>
                <a:spcPct val="0"/>
              </a:spcBef>
              <a:spcAft>
                <a:spcPct val="0"/>
              </a:spcAft>
              <a:defRPr sz="2700">
                <a:solidFill>
                  <a:srgbClr val="000000"/>
                </a:solidFill>
                <a:latin typeface="Bosch Office Sans"/>
              </a:defRPr>
            </a:lvl2pPr>
            <a:lvl3pPr algn="l" rtl="0" eaLnBrk="0" fontAlgn="base" hangingPunct="0">
              <a:lnSpc>
                <a:spcPct val="111000"/>
              </a:lnSpc>
              <a:spcBef>
                <a:spcPct val="0"/>
              </a:spcBef>
              <a:spcAft>
                <a:spcPct val="0"/>
              </a:spcAft>
              <a:defRPr sz="2700">
                <a:solidFill>
                  <a:srgbClr val="000000"/>
                </a:solidFill>
                <a:latin typeface="Bosch Office Sans"/>
              </a:defRPr>
            </a:lvl3pPr>
            <a:lvl4pPr algn="l" rtl="0" eaLnBrk="0" fontAlgn="base" hangingPunct="0">
              <a:lnSpc>
                <a:spcPct val="111000"/>
              </a:lnSpc>
              <a:spcBef>
                <a:spcPct val="0"/>
              </a:spcBef>
              <a:spcAft>
                <a:spcPct val="0"/>
              </a:spcAft>
              <a:defRPr sz="2700">
                <a:solidFill>
                  <a:srgbClr val="000000"/>
                </a:solidFill>
                <a:latin typeface="Bosch Office Sans"/>
              </a:defRPr>
            </a:lvl4pPr>
            <a:lvl5pPr algn="l" rtl="0" eaLnBrk="0" fontAlgn="base" hangingPunct="0">
              <a:lnSpc>
                <a:spcPct val="111000"/>
              </a:lnSpc>
              <a:spcBef>
                <a:spcPct val="0"/>
              </a:spcBef>
              <a:spcAft>
                <a:spcPct val="0"/>
              </a:spcAft>
              <a:defRPr sz="2700">
                <a:solidFill>
                  <a:srgbClr val="000000"/>
                </a:solidFill>
                <a:latin typeface="Bosch Office Sans"/>
              </a:defRPr>
            </a:lvl5pPr>
            <a:lvl6pPr marL="457200" algn="l" rtl="0" fontAlgn="base">
              <a:lnSpc>
                <a:spcPct val="111000"/>
              </a:lnSpc>
              <a:spcBef>
                <a:spcPct val="0"/>
              </a:spcBef>
              <a:spcAft>
                <a:spcPct val="0"/>
              </a:spcAft>
              <a:defRPr sz="2700">
                <a:solidFill>
                  <a:srgbClr val="000000"/>
                </a:solidFill>
                <a:latin typeface="Bosch Office Sans"/>
              </a:defRPr>
            </a:lvl6pPr>
            <a:lvl7pPr marL="914400" algn="l" rtl="0" fontAlgn="base">
              <a:lnSpc>
                <a:spcPct val="111000"/>
              </a:lnSpc>
              <a:spcBef>
                <a:spcPct val="0"/>
              </a:spcBef>
              <a:spcAft>
                <a:spcPct val="0"/>
              </a:spcAft>
              <a:defRPr sz="2700">
                <a:solidFill>
                  <a:srgbClr val="000000"/>
                </a:solidFill>
                <a:latin typeface="Bosch Office Sans"/>
              </a:defRPr>
            </a:lvl7pPr>
            <a:lvl8pPr marL="1371600" algn="l" rtl="0" fontAlgn="base">
              <a:lnSpc>
                <a:spcPct val="111000"/>
              </a:lnSpc>
              <a:spcBef>
                <a:spcPct val="0"/>
              </a:spcBef>
              <a:spcAft>
                <a:spcPct val="0"/>
              </a:spcAft>
              <a:defRPr sz="2700">
                <a:solidFill>
                  <a:srgbClr val="000000"/>
                </a:solidFill>
                <a:latin typeface="Bosch Office Sans"/>
              </a:defRPr>
            </a:lvl8pPr>
            <a:lvl9pPr marL="1828800" algn="l" rtl="0" fontAlgn="base">
              <a:lnSpc>
                <a:spcPct val="111000"/>
              </a:lnSpc>
              <a:spcBef>
                <a:spcPct val="0"/>
              </a:spcBef>
              <a:spcAft>
                <a:spcPct val="0"/>
              </a:spcAft>
              <a:defRPr sz="2700">
                <a:solidFill>
                  <a:srgbClr val="000000"/>
                </a:solidFill>
                <a:latin typeface="Bosch Office Sans"/>
              </a:defRPr>
            </a:lvl9pPr>
          </a:lstStyle>
          <a:p>
            <a:r>
              <a:rPr lang="en-US" sz="1167" kern="0" dirty="0"/>
              <a:t>Masked Face Anomaly Detection</a:t>
            </a:r>
          </a:p>
        </p:txBody>
      </p:sp>
      <p:sp>
        <p:nvSpPr>
          <p:cNvPr id="26" name="Title 1__"/>
          <p:cNvSpPr txBox="1">
            <a:spLocks/>
          </p:cNvSpPr>
          <p:nvPr>
            <p:custDataLst>
              <p:tags r:id="rId11"/>
            </p:custDataLst>
          </p:nvPr>
        </p:nvSpPr>
        <p:spPr bwMode="auto">
          <a:xfrm>
            <a:off x="8208854" y="4597251"/>
            <a:ext cx="4754999" cy="592819"/>
          </a:xfrm>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14115" rIns="0" bIns="0" numCol="1" anchor="t" anchorCtr="0" compatLnSpc="1">
            <a:prstTxWarp prst="textNoShape">
              <a:avLst/>
            </a:prstTxWarp>
          </a:bodyPr>
          <a:lstStyle>
            <a:lvl1pPr algn="l" rtl="0" eaLnBrk="0" fontAlgn="base" hangingPunct="0">
              <a:lnSpc>
                <a:spcPct val="111000"/>
              </a:lnSpc>
              <a:spcBef>
                <a:spcPts val="0"/>
              </a:spcBef>
              <a:spcAft>
                <a:spcPts val="0"/>
              </a:spcAft>
              <a:buFontTx/>
              <a:buNone/>
              <a:defRPr sz="2700" b="0" i="0" u="none" spc="0">
                <a:solidFill>
                  <a:srgbClr val="000000"/>
                </a:solidFill>
                <a:latin typeface="Bosch Office Sans" panose="020B0604020202020204" pitchFamily="34" charset="0"/>
                <a:ea typeface="+mj-ea"/>
                <a:cs typeface="+mj-cs"/>
              </a:defRPr>
            </a:lvl1pPr>
            <a:lvl2pPr algn="l" rtl="0" eaLnBrk="0" fontAlgn="base" hangingPunct="0">
              <a:lnSpc>
                <a:spcPct val="111000"/>
              </a:lnSpc>
              <a:spcBef>
                <a:spcPct val="0"/>
              </a:spcBef>
              <a:spcAft>
                <a:spcPct val="0"/>
              </a:spcAft>
              <a:defRPr sz="2700">
                <a:solidFill>
                  <a:srgbClr val="000000"/>
                </a:solidFill>
                <a:latin typeface="Bosch Office Sans"/>
              </a:defRPr>
            </a:lvl2pPr>
            <a:lvl3pPr algn="l" rtl="0" eaLnBrk="0" fontAlgn="base" hangingPunct="0">
              <a:lnSpc>
                <a:spcPct val="111000"/>
              </a:lnSpc>
              <a:spcBef>
                <a:spcPct val="0"/>
              </a:spcBef>
              <a:spcAft>
                <a:spcPct val="0"/>
              </a:spcAft>
              <a:defRPr sz="2700">
                <a:solidFill>
                  <a:srgbClr val="000000"/>
                </a:solidFill>
                <a:latin typeface="Bosch Office Sans"/>
              </a:defRPr>
            </a:lvl3pPr>
            <a:lvl4pPr algn="l" rtl="0" eaLnBrk="0" fontAlgn="base" hangingPunct="0">
              <a:lnSpc>
                <a:spcPct val="111000"/>
              </a:lnSpc>
              <a:spcBef>
                <a:spcPct val="0"/>
              </a:spcBef>
              <a:spcAft>
                <a:spcPct val="0"/>
              </a:spcAft>
              <a:defRPr sz="2700">
                <a:solidFill>
                  <a:srgbClr val="000000"/>
                </a:solidFill>
                <a:latin typeface="Bosch Office Sans"/>
              </a:defRPr>
            </a:lvl4pPr>
            <a:lvl5pPr algn="l" rtl="0" eaLnBrk="0" fontAlgn="base" hangingPunct="0">
              <a:lnSpc>
                <a:spcPct val="111000"/>
              </a:lnSpc>
              <a:spcBef>
                <a:spcPct val="0"/>
              </a:spcBef>
              <a:spcAft>
                <a:spcPct val="0"/>
              </a:spcAft>
              <a:defRPr sz="2700">
                <a:solidFill>
                  <a:srgbClr val="000000"/>
                </a:solidFill>
                <a:latin typeface="Bosch Office Sans"/>
              </a:defRPr>
            </a:lvl5pPr>
            <a:lvl6pPr marL="457200" algn="l" rtl="0" fontAlgn="base">
              <a:lnSpc>
                <a:spcPct val="111000"/>
              </a:lnSpc>
              <a:spcBef>
                <a:spcPct val="0"/>
              </a:spcBef>
              <a:spcAft>
                <a:spcPct val="0"/>
              </a:spcAft>
              <a:defRPr sz="2700">
                <a:solidFill>
                  <a:srgbClr val="000000"/>
                </a:solidFill>
                <a:latin typeface="Bosch Office Sans"/>
              </a:defRPr>
            </a:lvl6pPr>
            <a:lvl7pPr marL="914400" algn="l" rtl="0" fontAlgn="base">
              <a:lnSpc>
                <a:spcPct val="111000"/>
              </a:lnSpc>
              <a:spcBef>
                <a:spcPct val="0"/>
              </a:spcBef>
              <a:spcAft>
                <a:spcPct val="0"/>
              </a:spcAft>
              <a:defRPr sz="2700">
                <a:solidFill>
                  <a:srgbClr val="000000"/>
                </a:solidFill>
                <a:latin typeface="Bosch Office Sans"/>
              </a:defRPr>
            </a:lvl7pPr>
            <a:lvl8pPr marL="1371600" algn="l" rtl="0" fontAlgn="base">
              <a:lnSpc>
                <a:spcPct val="111000"/>
              </a:lnSpc>
              <a:spcBef>
                <a:spcPct val="0"/>
              </a:spcBef>
              <a:spcAft>
                <a:spcPct val="0"/>
              </a:spcAft>
              <a:defRPr sz="2700">
                <a:solidFill>
                  <a:srgbClr val="000000"/>
                </a:solidFill>
                <a:latin typeface="Bosch Office Sans"/>
              </a:defRPr>
            </a:lvl8pPr>
            <a:lvl9pPr marL="1828800" algn="l" rtl="0" fontAlgn="base">
              <a:lnSpc>
                <a:spcPct val="111000"/>
              </a:lnSpc>
              <a:spcBef>
                <a:spcPct val="0"/>
              </a:spcBef>
              <a:spcAft>
                <a:spcPct val="0"/>
              </a:spcAft>
              <a:defRPr sz="2700">
                <a:solidFill>
                  <a:srgbClr val="000000"/>
                </a:solidFill>
                <a:latin typeface="Bosch Office Sans"/>
              </a:defRPr>
            </a:lvl9pPr>
          </a:lstStyle>
          <a:p>
            <a:r>
              <a:rPr lang="en-US" sz="1111" kern="0" dirty="0"/>
              <a:t>Head neck Tracking and Unique ID Assignment</a:t>
            </a:r>
          </a:p>
        </p:txBody>
      </p:sp>
      <p:pic>
        <p:nvPicPr>
          <p:cNvPr id="27" name="Picture 26"/>
          <p:cNvPicPr>
            <a:picLocks noChangeAspect="1"/>
          </p:cNvPicPr>
          <p:nvPr/>
        </p:nvPicPr>
        <p:blipFill>
          <a:blip r:embed="rId26"/>
          <a:stretch>
            <a:fillRect/>
          </a:stretch>
        </p:blipFill>
        <p:spPr>
          <a:xfrm>
            <a:off x="5926019" y="343551"/>
            <a:ext cx="4565672" cy="2364877"/>
          </a:xfrm>
          <a:prstGeom prst="rect">
            <a:avLst/>
          </a:prstGeom>
        </p:spPr>
      </p:pic>
      <p:pic>
        <p:nvPicPr>
          <p:cNvPr id="28" name="Picture 27"/>
          <p:cNvPicPr>
            <a:picLocks noChangeAspect="1"/>
          </p:cNvPicPr>
          <p:nvPr/>
        </p:nvPicPr>
        <p:blipFill>
          <a:blip r:embed="rId27"/>
          <a:stretch>
            <a:fillRect/>
          </a:stretch>
        </p:blipFill>
        <p:spPr>
          <a:xfrm>
            <a:off x="5562538" y="3125299"/>
            <a:ext cx="2312588" cy="2808143"/>
          </a:xfrm>
          <a:prstGeom prst="rect">
            <a:avLst/>
          </a:prstGeom>
          <a:ln>
            <a:solidFill>
              <a:schemeClr val="tx1"/>
            </a:solidFill>
          </a:ln>
        </p:spPr>
      </p:pic>
    </p:spTree>
    <p:custDataLst>
      <p:tags r:id="rId1"/>
    </p:custDataLst>
    <p:extLst>
      <p:ext uri="{BB962C8B-B14F-4D97-AF65-F5344CB8AC3E}">
        <p14:creationId xmlns:p14="http://schemas.microsoft.com/office/powerpoint/2010/main" val="27306270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352"/>
            <a:ext cx="12192000" cy="6858000"/>
          </a:xfrm>
          <a:prstGeom prst="rect">
            <a:avLst/>
          </a:prstGeom>
          <a:solidFill>
            <a:schemeClr val="bg1">
              <a:alpha val="61000"/>
            </a:scheme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53" name="Picture 52" descr="A group of clouds in the sky&#10;&#10;Description automatically generated">
            <a:extLst>
              <a:ext uri="{FF2B5EF4-FFF2-40B4-BE49-F238E27FC236}">
                <a16:creationId xmlns:a16="http://schemas.microsoft.com/office/drawing/2014/main" id="{CEFB951B-FD47-4DBE-8778-DE54B575CB9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553"/>
            <a:ext cx="12192000" cy="6856894"/>
          </a:xfrm>
          <a:prstGeom prst="rect">
            <a:avLst/>
          </a:prstGeom>
          <a:solidFill>
            <a:schemeClr val="accent1">
              <a:alpha val="45000"/>
            </a:schemeClr>
          </a:solidFill>
        </p:spPr>
      </p:pic>
      <p:sp>
        <p:nvSpPr>
          <p:cNvPr id="50" name="Rectangle 49"/>
          <p:cNvSpPr/>
          <p:nvPr/>
        </p:nvSpPr>
        <p:spPr>
          <a:xfrm>
            <a:off x="0" y="-2655"/>
            <a:ext cx="12192000" cy="6858000"/>
          </a:xfrm>
          <a:prstGeom prst="rect">
            <a:avLst/>
          </a:prstGeom>
          <a:solidFill>
            <a:schemeClr val="bg1">
              <a:alpha val="61000"/>
            </a:scheme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 name="Rectangle 4" hidden="1"/>
          <p:cNvSpPr>
            <a:spLocks/>
          </p:cNvSpPr>
          <p:nvPr>
            <p:custDataLst>
              <p:tags r:id="rId2"/>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19761" rIns="0" bIns="0" rtlCol="0" anchor="t">
            <a:normAutofit/>
          </a:bodyPr>
          <a:lstStyle/>
          <a:p>
            <a:pPr defTabSz="1016264" fontAlgn="base">
              <a:lnSpc>
                <a:spcPts val="1000"/>
              </a:lnSpc>
              <a:spcBef>
                <a:spcPct val="0"/>
              </a:spcBef>
              <a:spcAft>
                <a:spcPct val="0"/>
              </a:spcAft>
            </a:pPr>
            <a:endParaRPr lang="en-GB" sz="611" dirty="0">
              <a:solidFill>
                <a:prstClr val="black"/>
              </a:solidFill>
              <a:latin typeface="Bosch Office Sans"/>
            </a:endParaRPr>
          </a:p>
        </p:txBody>
      </p:sp>
      <p:sp>
        <p:nvSpPr>
          <p:cNvPr id="4" name="TextBox 3" hidden="1"/>
          <p:cNvSpPr txBox="1"/>
          <p:nvPr>
            <p:custDataLst>
              <p:tags r:id="rId3"/>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L="280073" indent="-280073" defTabSz="1016264" fontAlgn="base">
              <a:lnSpc>
                <a:spcPts val="2556"/>
              </a:lnSpc>
              <a:spcBef>
                <a:spcPct val="0"/>
              </a:spcBef>
              <a:spcAft>
                <a:spcPct val="0"/>
              </a:spcAft>
            </a:pPr>
            <a:endParaRPr lang="en-GB" sz="1445" dirty="0">
              <a:solidFill>
                <a:prstClr val="black"/>
              </a:solidFill>
              <a:latin typeface="Bosch Office Sans" pitchFamily="2" charset="0"/>
            </a:endParaRPr>
          </a:p>
        </p:txBody>
      </p:sp>
      <p:sp>
        <p:nvSpPr>
          <p:cNvPr id="2" name="Title 1"/>
          <p:cNvSpPr>
            <a:spLocks noGrp="1"/>
          </p:cNvSpPr>
          <p:nvPr>
            <p:ph type="title"/>
            <p:custDataLst>
              <p:tags r:id="rId4"/>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GB" sz="3112" dirty="0">
                <a:solidFill>
                  <a:srgbClr val="08427E"/>
                </a:solidFill>
              </a:rPr>
              <a:t>Drone-based image analytics: blueberry counting</a:t>
            </a:r>
          </a:p>
        </p:txBody>
      </p:sp>
      <p:sp>
        <p:nvSpPr>
          <p:cNvPr id="27" name="TextBox 26"/>
          <p:cNvSpPr txBox="1">
            <a:spLocks/>
          </p:cNvSpPr>
          <p:nvPr>
            <p:custDataLst>
              <p:tags r:id="rId5"/>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lvl="0">
              <a:lnSpc>
                <a:spcPct val="89000"/>
              </a:lnSpc>
            </a:pPr>
            <a:r>
              <a:rPr lang="en-US" sz="3110" dirty="0">
                <a:solidFill>
                  <a:prstClr val="black"/>
                </a:solidFill>
              </a:rPr>
              <a:t>Big Data and Artificial Intelligence</a:t>
            </a:r>
            <a:endParaRPr lang="en-GB" sz="3110" dirty="0">
              <a:solidFill>
                <a:srgbClr val="67B419"/>
              </a:solidFill>
            </a:endParaRPr>
          </a:p>
        </p:txBody>
      </p:sp>
      <p:sp>
        <p:nvSpPr>
          <p:cNvPr id="22" name="Rectangle 21">
            <a:extLst>
              <a:ext uri="{FF2B5EF4-FFF2-40B4-BE49-F238E27FC236}">
                <a16:creationId xmlns:a16="http://schemas.microsoft.com/office/drawing/2014/main" id="{818CED2C-89A4-4099-8ACE-B891E339DF9C}"/>
              </a:ext>
            </a:extLst>
          </p:cNvPr>
          <p:cNvSpPr/>
          <p:nvPr/>
        </p:nvSpPr>
        <p:spPr>
          <a:xfrm>
            <a:off x="-285356" y="1171203"/>
            <a:ext cx="7906803" cy="338554"/>
          </a:xfrm>
          <a:prstGeom prst="rect">
            <a:avLst/>
          </a:prstGeom>
        </p:spPr>
        <p:txBody>
          <a:bodyPr wrap="square">
            <a:spAutoFit/>
          </a:bodyPr>
          <a:lstStyle/>
          <a:p>
            <a:pPr algn="ctr" defTabSz="1016264" fontAlgn="base">
              <a:spcBef>
                <a:spcPct val="0"/>
              </a:spcBef>
              <a:spcAft>
                <a:spcPct val="0"/>
              </a:spcAft>
            </a:pPr>
            <a:r>
              <a:rPr lang="en-GB" sz="1600" dirty="0" smtClean="0"/>
              <a:t>Smart image analytics solution to </a:t>
            </a:r>
            <a:r>
              <a:rPr lang="en-US" sz="1600" dirty="0"/>
              <a:t>better estimate harvest dates and volume</a:t>
            </a:r>
            <a:endParaRPr lang="en-GB" sz="1600" dirty="0"/>
          </a:p>
        </p:txBody>
      </p:sp>
      <p:grpSp>
        <p:nvGrpSpPr>
          <p:cNvPr id="36" name="Group 35">
            <a:extLst>
              <a:ext uri="{FF2B5EF4-FFF2-40B4-BE49-F238E27FC236}">
                <a16:creationId xmlns:a16="http://schemas.microsoft.com/office/drawing/2014/main" id="{F43EB516-BABB-4C9B-B08C-691D38CC270A}"/>
              </a:ext>
            </a:extLst>
          </p:cNvPr>
          <p:cNvGrpSpPr/>
          <p:nvPr/>
        </p:nvGrpSpPr>
        <p:grpSpPr>
          <a:xfrm>
            <a:off x="9551444" y="2399321"/>
            <a:ext cx="2275631" cy="775324"/>
            <a:chOff x="9551444" y="2414075"/>
            <a:chExt cx="2275631" cy="775324"/>
          </a:xfrm>
        </p:grpSpPr>
        <p:pic>
          <p:nvPicPr>
            <p:cNvPr id="34" name="Picture 33">
              <a:extLst>
                <a:ext uri="{FF2B5EF4-FFF2-40B4-BE49-F238E27FC236}">
                  <a16:creationId xmlns:a16="http://schemas.microsoft.com/office/drawing/2014/main" id="{218C718E-E0D1-460F-B257-B9FFE1496C2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551444" y="2414075"/>
              <a:ext cx="751298" cy="719650"/>
            </a:xfrm>
            <a:prstGeom prst="rect">
              <a:avLst/>
            </a:prstGeom>
          </p:spPr>
        </p:pic>
        <p:sp>
          <p:nvSpPr>
            <p:cNvPr id="23" name="Rectangle 22">
              <a:extLst>
                <a:ext uri="{FF2B5EF4-FFF2-40B4-BE49-F238E27FC236}">
                  <a16:creationId xmlns:a16="http://schemas.microsoft.com/office/drawing/2014/main" id="{0A986E19-01C5-4804-B7E0-F3609A55AE63}"/>
                </a:ext>
              </a:extLst>
            </p:cNvPr>
            <p:cNvSpPr/>
            <p:nvPr/>
          </p:nvSpPr>
          <p:spPr>
            <a:xfrm>
              <a:off x="10345782" y="2543068"/>
              <a:ext cx="1481293" cy="646331"/>
            </a:xfrm>
            <a:prstGeom prst="rect">
              <a:avLst/>
            </a:prstGeom>
          </p:spPr>
          <p:txBody>
            <a:bodyPr wrap="square">
              <a:spAutoFit/>
            </a:bodyPr>
            <a:lstStyle/>
            <a:p>
              <a:pPr defTabSz="1016264" fontAlgn="base">
                <a:spcBef>
                  <a:spcPct val="0"/>
                </a:spcBef>
                <a:spcAft>
                  <a:spcPct val="0"/>
                </a:spcAft>
              </a:pPr>
              <a:r>
                <a:rPr lang="en-US" sz="1200" dirty="0" smtClean="0">
                  <a:solidFill>
                    <a:prstClr val="black"/>
                  </a:solidFill>
                </a:rPr>
                <a:t>Complete </a:t>
              </a:r>
              <a:r>
                <a:rPr lang="en-US" sz="1200" dirty="0">
                  <a:solidFill>
                    <a:prstClr val="black"/>
                  </a:solidFill>
                </a:rPr>
                <a:t>visibility of the health of the crop</a:t>
              </a:r>
              <a:endParaRPr lang="en-GB" sz="1200" dirty="0">
                <a:solidFill>
                  <a:prstClr val="black"/>
                </a:solidFill>
              </a:endParaRPr>
            </a:p>
          </p:txBody>
        </p:sp>
      </p:grpSp>
      <p:grpSp>
        <p:nvGrpSpPr>
          <p:cNvPr id="51" name="Group 50">
            <a:extLst>
              <a:ext uri="{FF2B5EF4-FFF2-40B4-BE49-F238E27FC236}">
                <a16:creationId xmlns:a16="http://schemas.microsoft.com/office/drawing/2014/main" id="{44B7AA7D-5726-496A-BE1F-83A90BDA8474}"/>
              </a:ext>
            </a:extLst>
          </p:cNvPr>
          <p:cNvGrpSpPr/>
          <p:nvPr/>
        </p:nvGrpSpPr>
        <p:grpSpPr>
          <a:xfrm>
            <a:off x="9551444" y="4841079"/>
            <a:ext cx="2762293" cy="676895"/>
            <a:chOff x="9536043" y="4871714"/>
            <a:chExt cx="2762293" cy="676895"/>
          </a:xfrm>
        </p:grpSpPr>
        <p:pic>
          <p:nvPicPr>
            <p:cNvPr id="28" name="Picture 27">
              <a:extLst>
                <a:ext uri="{FF2B5EF4-FFF2-40B4-BE49-F238E27FC236}">
                  <a16:creationId xmlns:a16="http://schemas.microsoft.com/office/drawing/2014/main" id="{8BF8A1DD-0678-464F-8797-B13C5743F5B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536043" y="4871714"/>
              <a:ext cx="747263" cy="676895"/>
            </a:xfrm>
            <a:prstGeom prst="rect">
              <a:avLst/>
            </a:prstGeom>
          </p:spPr>
        </p:pic>
        <p:sp>
          <p:nvSpPr>
            <p:cNvPr id="45" name="Rectangle 44">
              <a:extLst>
                <a:ext uri="{FF2B5EF4-FFF2-40B4-BE49-F238E27FC236}">
                  <a16:creationId xmlns:a16="http://schemas.microsoft.com/office/drawing/2014/main" id="{21293DF3-99D1-4E7C-8037-6E50CA8AF7F3}"/>
                </a:ext>
              </a:extLst>
            </p:cNvPr>
            <p:cNvSpPr/>
            <p:nvPr>
              <p:custDataLst>
                <p:tags r:id="rId11"/>
              </p:custDataLst>
            </p:nvPr>
          </p:nvSpPr>
          <p:spPr>
            <a:xfrm>
              <a:off x="10372095" y="4993132"/>
              <a:ext cx="1926241" cy="4340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16264" fontAlgn="base">
                <a:spcBef>
                  <a:spcPct val="0"/>
                </a:spcBef>
                <a:spcAft>
                  <a:spcPct val="0"/>
                </a:spcAft>
              </a:pPr>
              <a:r>
                <a:rPr lang="en-GB" sz="1200" dirty="0" smtClean="0">
                  <a:solidFill>
                    <a:prstClr val="black"/>
                  </a:solidFill>
                  <a:latin typeface="Bosch Office Sans"/>
                </a:rPr>
                <a:t>Competitive farming</a:t>
              </a:r>
              <a:endParaRPr lang="en-GB" sz="1200" dirty="0">
                <a:solidFill>
                  <a:prstClr val="black"/>
                </a:solidFill>
                <a:latin typeface="Bosch Office Sans"/>
              </a:endParaRPr>
            </a:p>
          </p:txBody>
        </p:sp>
      </p:grpSp>
      <p:grpSp>
        <p:nvGrpSpPr>
          <p:cNvPr id="52" name="Group 51">
            <a:extLst>
              <a:ext uri="{FF2B5EF4-FFF2-40B4-BE49-F238E27FC236}">
                <a16:creationId xmlns:a16="http://schemas.microsoft.com/office/drawing/2014/main" id="{0B866FEB-38E7-406E-AEDF-DEEA2C0BE2E4}"/>
              </a:ext>
            </a:extLst>
          </p:cNvPr>
          <p:cNvGrpSpPr/>
          <p:nvPr/>
        </p:nvGrpSpPr>
        <p:grpSpPr>
          <a:xfrm>
            <a:off x="9499953" y="3339663"/>
            <a:ext cx="2370912" cy="719650"/>
            <a:chOff x="9533657" y="5648173"/>
            <a:chExt cx="2370912" cy="719650"/>
          </a:xfrm>
        </p:grpSpPr>
        <p:pic>
          <p:nvPicPr>
            <p:cNvPr id="47" name="Picture 46">
              <a:extLst>
                <a:ext uri="{FF2B5EF4-FFF2-40B4-BE49-F238E27FC236}">
                  <a16:creationId xmlns:a16="http://schemas.microsoft.com/office/drawing/2014/main" id="{A73244E3-08AB-4D6E-B568-B38991137B8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33657" y="5648173"/>
              <a:ext cx="688684" cy="719650"/>
            </a:xfrm>
            <a:prstGeom prst="rect">
              <a:avLst/>
            </a:prstGeom>
          </p:spPr>
        </p:pic>
        <p:sp>
          <p:nvSpPr>
            <p:cNvPr id="29" name="Rectangle 28">
              <a:extLst>
                <a:ext uri="{FF2B5EF4-FFF2-40B4-BE49-F238E27FC236}">
                  <a16:creationId xmlns:a16="http://schemas.microsoft.com/office/drawing/2014/main" id="{5D8DF19E-F603-4BFB-962C-15254EB86842}"/>
                </a:ext>
              </a:extLst>
            </p:cNvPr>
            <p:cNvSpPr/>
            <p:nvPr/>
          </p:nvSpPr>
          <p:spPr>
            <a:xfrm>
              <a:off x="10372095" y="5777166"/>
              <a:ext cx="1532474" cy="461665"/>
            </a:xfrm>
            <a:prstGeom prst="rect">
              <a:avLst/>
            </a:prstGeom>
          </p:spPr>
          <p:txBody>
            <a:bodyPr wrap="square">
              <a:spAutoFit/>
            </a:bodyPr>
            <a:lstStyle/>
            <a:p>
              <a:pPr defTabSz="1016264" fontAlgn="base">
                <a:spcBef>
                  <a:spcPct val="0"/>
                </a:spcBef>
                <a:spcAft>
                  <a:spcPct val="0"/>
                </a:spcAft>
              </a:pPr>
              <a:r>
                <a:rPr lang="en-GB" sz="1200" dirty="0" smtClean="0">
                  <a:solidFill>
                    <a:prstClr val="black"/>
                  </a:solidFill>
                </a:rPr>
                <a:t>Production Volume </a:t>
              </a:r>
              <a:r>
                <a:rPr lang="en-GB" sz="1200" dirty="0">
                  <a:solidFill>
                    <a:prstClr val="black"/>
                  </a:solidFill>
                </a:rPr>
                <a:t>Estimation</a:t>
              </a:r>
            </a:p>
          </p:txBody>
        </p:sp>
      </p:grpSp>
      <p:grpSp>
        <p:nvGrpSpPr>
          <p:cNvPr id="55" name="Group 54">
            <a:extLst>
              <a:ext uri="{FF2B5EF4-FFF2-40B4-BE49-F238E27FC236}">
                <a16:creationId xmlns:a16="http://schemas.microsoft.com/office/drawing/2014/main" id="{0BE67401-8794-4BD1-8961-62F72B1F1B8F}"/>
              </a:ext>
            </a:extLst>
          </p:cNvPr>
          <p:cNvGrpSpPr/>
          <p:nvPr/>
        </p:nvGrpSpPr>
        <p:grpSpPr>
          <a:xfrm>
            <a:off x="9536087" y="4111965"/>
            <a:ext cx="2775048" cy="737062"/>
            <a:chOff x="9520686" y="4026380"/>
            <a:chExt cx="2775048" cy="737062"/>
          </a:xfrm>
        </p:grpSpPr>
        <p:pic>
          <p:nvPicPr>
            <p:cNvPr id="31" name="Picture 30">
              <a:extLst>
                <a:ext uri="{FF2B5EF4-FFF2-40B4-BE49-F238E27FC236}">
                  <a16:creationId xmlns:a16="http://schemas.microsoft.com/office/drawing/2014/main" id="{51EFA1EB-826C-4C96-8212-1D57F30E2D3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520686" y="4026380"/>
              <a:ext cx="747263" cy="737062"/>
            </a:xfrm>
            <a:prstGeom prst="rect">
              <a:avLst/>
            </a:prstGeom>
          </p:spPr>
        </p:pic>
        <p:sp>
          <p:nvSpPr>
            <p:cNvPr id="49" name="Rectangle 48">
              <a:extLst>
                <a:ext uri="{FF2B5EF4-FFF2-40B4-BE49-F238E27FC236}">
                  <a16:creationId xmlns:a16="http://schemas.microsoft.com/office/drawing/2014/main" id="{A9516828-AB53-4416-8CE9-A7FB48D029E7}"/>
                </a:ext>
              </a:extLst>
            </p:cNvPr>
            <p:cNvSpPr/>
            <p:nvPr>
              <p:custDataLst>
                <p:tags r:id="rId10"/>
              </p:custDataLst>
            </p:nvPr>
          </p:nvSpPr>
          <p:spPr>
            <a:xfrm>
              <a:off x="10369493" y="4228143"/>
              <a:ext cx="1926241" cy="3335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16264" fontAlgn="base">
                <a:spcBef>
                  <a:spcPct val="0"/>
                </a:spcBef>
                <a:spcAft>
                  <a:spcPct val="0"/>
                </a:spcAft>
              </a:pPr>
              <a:r>
                <a:rPr lang="en-GB" sz="1200" dirty="0">
                  <a:solidFill>
                    <a:prstClr val="black"/>
                  </a:solidFill>
                  <a:latin typeface="Bosch Office Sans"/>
                </a:rPr>
                <a:t>Precision Farming</a:t>
              </a:r>
            </a:p>
          </p:txBody>
        </p:sp>
      </p:grpSp>
      <p:sp>
        <p:nvSpPr>
          <p:cNvPr id="32" name="Rectangle 31">
            <a:extLst>
              <a:ext uri="{FF2B5EF4-FFF2-40B4-BE49-F238E27FC236}">
                <a16:creationId xmlns:a16="http://schemas.microsoft.com/office/drawing/2014/main" id="{ED326623-A291-4DE8-B734-16FE698AEB7B}"/>
              </a:ext>
            </a:extLst>
          </p:cNvPr>
          <p:cNvSpPr/>
          <p:nvPr/>
        </p:nvSpPr>
        <p:spPr>
          <a:xfrm>
            <a:off x="10141427" y="1879716"/>
            <a:ext cx="1111202" cy="400110"/>
          </a:xfrm>
          <a:prstGeom prst="rect">
            <a:avLst/>
          </a:prstGeom>
        </p:spPr>
        <p:txBody>
          <a:bodyPr wrap="none">
            <a:spAutoFit/>
          </a:bodyPr>
          <a:lstStyle/>
          <a:p>
            <a:pPr algn="ctr" defTabSz="1016264" fontAlgn="base">
              <a:spcBef>
                <a:spcPct val="0"/>
              </a:spcBef>
              <a:spcAft>
                <a:spcPct val="0"/>
              </a:spcAft>
            </a:pPr>
            <a:r>
              <a:rPr lang="en-GB" sz="2000" dirty="0">
                <a:solidFill>
                  <a:srgbClr val="0070C0"/>
                </a:solidFill>
                <a:cs typeface="Arial" panose="020B0604020202020204" pitchFamily="34" charset="0"/>
              </a:rPr>
              <a:t>Benefits</a:t>
            </a:r>
          </a:p>
        </p:txBody>
      </p:sp>
      <p:sp>
        <p:nvSpPr>
          <p:cNvPr id="72" name="TextBox 71">
            <a:extLst>
              <a:ext uri="{FF2B5EF4-FFF2-40B4-BE49-F238E27FC236}">
                <a16:creationId xmlns:a16="http://schemas.microsoft.com/office/drawing/2014/main" id="{3AF6DB8E-4FDB-4099-85A8-E40589CABCEF}"/>
              </a:ext>
            </a:extLst>
          </p:cNvPr>
          <p:cNvSpPr txBox="1"/>
          <p:nvPr/>
        </p:nvSpPr>
        <p:spPr>
          <a:xfrm>
            <a:off x="3316517" y="2238725"/>
            <a:ext cx="914400" cy="286138"/>
          </a:xfrm>
          <a:prstGeom prst="rect">
            <a:avLst/>
          </a:prstGeom>
          <a:noFill/>
        </p:spPr>
        <p:txBody>
          <a:bodyPr wrap="none" lIns="0" tIns="0" rIns="0" bIns="0" rtlCol="0">
            <a:noAutofit/>
          </a:bodyPr>
          <a:lstStyle/>
          <a:p>
            <a:pPr algn="ctr">
              <a:lnSpc>
                <a:spcPct val="107000"/>
              </a:lnSpc>
            </a:pPr>
            <a:r>
              <a:rPr lang="en-US" sz="900" b="1" kern="0" dirty="0" smtClean="0">
                <a:solidFill>
                  <a:srgbClr val="2C448F"/>
                </a:solidFill>
              </a:rPr>
              <a:t>Drone</a:t>
            </a:r>
            <a:endParaRPr lang="en-US" sz="900" b="1" kern="0" dirty="0">
              <a:solidFill>
                <a:srgbClr val="2C448F"/>
              </a:solidFill>
            </a:endParaRPr>
          </a:p>
        </p:txBody>
      </p:sp>
      <p:sp>
        <p:nvSpPr>
          <p:cNvPr id="74" name="TextBox 73">
            <a:extLst>
              <a:ext uri="{FF2B5EF4-FFF2-40B4-BE49-F238E27FC236}">
                <a16:creationId xmlns:a16="http://schemas.microsoft.com/office/drawing/2014/main" id="{045A300D-7DEE-4A9E-B94F-7E742AA10A2E}"/>
              </a:ext>
            </a:extLst>
          </p:cNvPr>
          <p:cNvSpPr txBox="1"/>
          <p:nvPr/>
        </p:nvSpPr>
        <p:spPr>
          <a:xfrm>
            <a:off x="4894339" y="2264927"/>
            <a:ext cx="914400" cy="286138"/>
          </a:xfrm>
          <a:prstGeom prst="rect">
            <a:avLst/>
          </a:prstGeom>
          <a:noFill/>
        </p:spPr>
        <p:txBody>
          <a:bodyPr wrap="none" lIns="0" tIns="0" rIns="0" bIns="0" rtlCol="0">
            <a:noAutofit/>
          </a:bodyPr>
          <a:lstStyle/>
          <a:p>
            <a:pPr algn="ctr">
              <a:lnSpc>
                <a:spcPct val="107000"/>
              </a:lnSpc>
            </a:pPr>
            <a:r>
              <a:rPr lang="en-US" sz="900" b="1" kern="0" dirty="0" smtClean="0">
                <a:solidFill>
                  <a:srgbClr val="2C448F"/>
                </a:solidFill>
              </a:rPr>
              <a:t>Computer Vision</a:t>
            </a:r>
            <a:endParaRPr lang="en-US" sz="900" b="1" kern="0" dirty="0">
              <a:solidFill>
                <a:srgbClr val="2C448F"/>
              </a:solidFill>
            </a:endParaRPr>
          </a:p>
        </p:txBody>
      </p:sp>
      <p:sp>
        <p:nvSpPr>
          <p:cNvPr id="75" name="TextBox 74">
            <a:extLst>
              <a:ext uri="{FF2B5EF4-FFF2-40B4-BE49-F238E27FC236}">
                <a16:creationId xmlns:a16="http://schemas.microsoft.com/office/drawing/2014/main" id="{144EEB78-96D7-4E64-BE0F-0970C01AFD4B}"/>
              </a:ext>
            </a:extLst>
          </p:cNvPr>
          <p:cNvSpPr txBox="1"/>
          <p:nvPr/>
        </p:nvSpPr>
        <p:spPr>
          <a:xfrm>
            <a:off x="6565288" y="2268899"/>
            <a:ext cx="914400" cy="286138"/>
          </a:xfrm>
          <a:prstGeom prst="rect">
            <a:avLst/>
          </a:prstGeom>
          <a:noFill/>
        </p:spPr>
        <p:txBody>
          <a:bodyPr wrap="none" lIns="0" tIns="0" rIns="0" bIns="0" rtlCol="0">
            <a:noAutofit/>
          </a:bodyPr>
          <a:lstStyle/>
          <a:p>
            <a:pPr algn="ctr">
              <a:lnSpc>
                <a:spcPct val="107000"/>
              </a:lnSpc>
            </a:pPr>
            <a:r>
              <a:rPr lang="en-US" sz="900" b="1" kern="0" dirty="0" smtClean="0">
                <a:solidFill>
                  <a:srgbClr val="2C448F"/>
                </a:solidFill>
              </a:rPr>
              <a:t>Deep Neural Network</a:t>
            </a:r>
            <a:endParaRPr lang="en-US" sz="900" b="1" kern="0" dirty="0">
              <a:solidFill>
                <a:srgbClr val="2C448F"/>
              </a:solidFill>
            </a:endParaRPr>
          </a:p>
        </p:txBody>
      </p:sp>
      <p:grpSp>
        <p:nvGrpSpPr>
          <p:cNvPr id="81" name="Group 80"/>
          <p:cNvGrpSpPr/>
          <p:nvPr/>
        </p:nvGrpSpPr>
        <p:grpSpPr>
          <a:xfrm>
            <a:off x="0" y="6073573"/>
            <a:ext cx="12192706" cy="784779"/>
            <a:chOff x="0" y="6073573"/>
            <a:chExt cx="12192706" cy="784779"/>
          </a:xfrm>
        </p:grpSpPr>
        <p:pic>
          <p:nvPicPr>
            <p:cNvPr id="82" name="Picture 81"/>
            <p:cNvPicPr>
              <a:picLocks/>
            </p:cNvPicPr>
            <p:nvPr userDrawn="1">
              <p:custDataLst>
                <p:tags r:id="rId8"/>
              </p:custDataLst>
            </p:nvPr>
          </p:nvPicPr>
          <p:blipFill>
            <a:blip r:embed="rId18" cstate="hqprint">
              <a:extLst>
                <a:ext uri="{28A0092B-C50C-407E-A947-70E740481C1C}">
                  <a14:useLocalDpi xmlns:a14="http://schemas.microsoft.com/office/drawing/2010/main" val="0"/>
                </a:ext>
              </a:extLst>
            </a:blip>
            <a:stretch>
              <a:fillRect/>
            </a:stretch>
          </p:blipFill>
          <p:spPr>
            <a:xfrm>
              <a:off x="10846116" y="6073573"/>
              <a:ext cx="1216730"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86" name="Picture 85"/>
            <p:cNvPicPr>
              <a:picLocks/>
            </p:cNvPicPr>
            <p:nvPr userDrawn="1">
              <p:custDataLst>
                <p:tags r:id="rId9"/>
              </p:custDataLst>
            </p:nvPr>
          </p:nvPicPr>
          <p:blipFill>
            <a:blip r:embed="rId19">
              <a:extLst>
                <a:ext uri="{28A0092B-C50C-407E-A947-70E740481C1C}">
                  <a14:useLocalDpi xmlns:a14="http://schemas.microsoft.com/office/drawing/2010/main" val="0"/>
                </a:ext>
              </a:extLst>
            </a:blip>
            <a:stretch>
              <a:fillRect/>
            </a:stretch>
          </p:blipFill>
          <p:spPr>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grpSp>
      <p:sp>
        <p:nvSpPr>
          <p:cNvPr id="65" name="TextBox 64">
            <a:extLst>
              <a:ext uri="{FF2B5EF4-FFF2-40B4-BE49-F238E27FC236}">
                <a16:creationId xmlns:a16="http://schemas.microsoft.com/office/drawing/2014/main" id="{ED303989-D29F-4252-A06D-60E2BEC94B1C}"/>
              </a:ext>
            </a:extLst>
          </p:cNvPr>
          <p:cNvSpPr txBox="1"/>
          <p:nvPr/>
        </p:nvSpPr>
        <p:spPr>
          <a:xfrm>
            <a:off x="2963973" y="3337475"/>
            <a:ext cx="1439963" cy="425607"/>
          </a:xfrm>
          <a:prstGeom prst="rect">
            <a:avLst/>
          </a:prstGeom>
          <a:noFill/>
        </p:spPr>
        <p:txBody>
          <a:bodyPr wrap="square" lIns="0" tIns="0" rIns="0" bIns="0" rtlCol="0">
            <a:noAutofit/>
          </a:bodyPr>
          <a:lstStyle/>
          <a:p>
            <a:pPr marR="0" algn="ctr" defTabSz="914400" eaLnBrk="1" fontAlgn="auto" latinLnBrk="0" hangingPunct="1">
              <a:lnSpc>
                <a:spcPct val="107000"/>
              </a:lnSpc>
              <a:spcBef>
                <a:spcPts val="500"/>
              </a:spcBef>
              <a:spcAft>
                <a:spcPts val="0"/>
              </a:spcAft>
              <a:buClrTx/>
              <a:buSzTx/>
              <a:buFontTx/>
              <a:buNone/>
              <a:tabLst/>
            </a:pPr>
            <a:r>
              <a:rPr kumimoji="0" lang="en-US" sz="1100" i="0" u="none" strike="noStrike" kern="0" cap="none" spc="0" normalizeH="0" baseline="0" noProof="0" dirty="0" smtClean="0">
                <a:ln>
                  <a:noFill/>
                </a:ln>
                <a:solidFill>
                  <a:srgbClr val="2C448F"/>
                </a:solidFill>
                <a:effectLst/>
                <a:uLnTx/>
                <a:uFillTx/>
              </a:rPr>
              <a:t>Real-time Data Acquisition</a:t>
            </a:r>
            <a:endParaRPr kumimoji="0" lang="en-US" sz="1100" i="0" u="none" strike="noStrike" kern="0" cap="none" spc="0" normalizeH="0" baseline="0" noProof="0" dirty="0">
              <a:ln>
                <a:noFill/>
              </a:ln>
              <a:solidFill>
                <a:srgbClr val="2C448F"/>
              </a:solidFill>
              <a:effectLst/>
              <a:uLnTx/>
              <a:uFillTx/>
            </a:endParaRPr>
          </a:p>
        </p:txBody>
      </p:sp>
      <p:sp>
        <p:nvSpPr>
          <p:cNvPr id="66" name="Rectangle 65">
            <a:extLst>
              <a:ext uri="{FF2B5EF4-FFF2-40B4-BE49-F238E27FC236}">
                <a16:creationId xmlns:a16="http://schemas.microsoft.com/office/drawing/2014/main" id="{2C18592E-BF69-4752-A273-29C4F7C10146}"/>
              </a:ext>
            </a:extLst>
          </p:cNvPr>
          <p:cNvSpPr/>
          <p:nvPr/>
        </p:nvSpPr>
        <p:spPr>
          <a:xfrm>
            <a:off x="4386986" y="3334835"/>
            <a:ext cx="1965849" cy="430887"/>
          </a:xfrm>
          <a:prstGeom prst="rect">
            <a:avLst/>
          </a:prstGeom>
        </p:spPr>
        <p:txBody>
          <a:bodyPr wrap="square">
            <a:spAutoFit/>
          </a:bodyPr>
          <a:lstStyle/>
          <a:p>
            <a:pPr marL="171450" indent="-171450">
              <a:buFont typeface="Arial" panose="020B0604020202020204" pitchFamily="34" charset="0"/>
              <a:buChar char="•"/>
            </a:pPr>
            <a:r>
              <a:rPr lang="en-US" sz="1100" kern="0" dirty="0" smtClean="0">
                <a:solidFill>
                  <a:srgbClr val="2C448F"/>
                </a:solidFill>
              </a:rPr>
              <a:t>Berry-cluster localization</a:t>
            </a:r>
          </a:p>
          <a:p>
            <a:pPr marL="171450" indent="-171450">
              <a:buFont typeface="Arial" panose="020B0604020202020204" pitchFamily="34" charset="0"/>
              <a:buChar char="•"/>
            </a:pPr>
            <a:r>
              <a:rPr lang="en-US" sz="1100" kern="0" dirty="0" smtClean="0">
                <a:solidFill>
                  <a:srgbClr val="2C448F"/>
                </a:solidFill>
              </a:rPr>
              <a:t>Berry </a:t>
            </a:r>
            <a:r>
              <a:rPr lang="en-US" sz="1100" kern="0" dirty="0">
                <a:solidFill>
                  <a:srgbClr val="2C448F"/>
                </a:solidFill>
              </a:rPr>
              <a:t>count derivation</a:t>
            </a:r>
          </a:p>
        </p:txBody>
      </p:sp>
      <p:sp>
        <p:nvSpPr>
          <p:cNvPr id="68" name="Rectangle 67">
            <a:extLst>
              <a:ext uri="{FF2B5EF4-FFF2-40B4-BE49-F238E27FC236}">
                <a16:creationId xmlns:a16="http://schemas.microsoft.com/office/drawing/2014/main" id="{4AF3DD3D-C65F-422B-BECD-94EA9EEC9F10}"/>
              </a:ext>
            </a:extLst>
          </p:cNvPr>
          <p:cNvSpPr/>
          <p:nvPr/>
        </p:nvSpPr>
        <p:spPr>
          <a:xfrm>
            <a:off x="6199786" y="3250196"/>
            <a:ext cx="1629660" cy="600164"/>
          </a:xfrm>
          <a:prstGeom prst="rect">
            <a:avLst/>
          </a:prstGeom>
        </p:spPr>
        <p:txBody>
          <a:bodyPr wrap="square">
            <a:spAutoFit/>
          </a:bodyPr>
          <a:lstStyle/>
          <a:p>
            <a:pPr algn="ctr"/>
            <a:r>
              <a:rPr lang="en-US" sz="1100" kern="0" dirty="0" smtClean="0">
                <a:solidFill>
                  <a:srgbClr val="2C448F"/>
                </a:solidFill>
              </a:rPr>
              <a:t>Stage Classification</a:t>
            </a:r>
          </a:p>
          <a:p>
            <a:pPr algn="ctr"/>
            <a:r>
              <a:rPr lang="en-US" sz="1100" kern="0" dirty="0" smtClean="0">
                <a:solidFill>
                  <a:srgbClr val="2C448F"/>
                </a:solidFill>
              </a:rPr>
              <a:t>(7 stages in Blueberry life cycle)</a:t>
            </a:r>
            <a:endParaRPr lang="en-US" sz="1100" kern="0" dirty="0">
              <a:solidFill>
                <a:srgbClr val="2C448F"/>
              </a:solidFill>
            </a:endParaRPr>
          </a:p>
        </p:txBody>
      </p:sp>
      <p:sp>
        <p:nvSpPr>
          <p:cNvPr id="48" name="Rectangle 47">
            <a:extLst>
              <a:ext uri="{FF2B5EF4-FFF2-40B4-BE49-F238E27FC236}">
                <a16:creationId xmlns:a16="http://schemas.microsoft.com/office/drawing/2014/main" id="{BFFE3BAA-F040-4752-90C0-DFFBC66D78E5}"/>
              </a:ext>
            </a:extLst>
          </p:cNvPr>
          <p:cNvSpPr/>
          <p:nvPr/>
        </p:nvSpPr>
        <p:spPr>
          <a:xfrm>
            <a:off x="9003141" y="2963685"/>
            <a:ext cx="1219200" cy="230832"/>
          </a:xfrm>
          <a:prstGeom prst="rect">
            <a:avLst/>
          </a:prstGeom>
        </p:spPr>
        <p:txBody>
          <a:bodyPr wrap="square">
            <a:spAutoFit/>
          </a:bodyPr>
          <a:lstStyle/>
          <a:p>
            <a:pPr algn="ctr"/>
            <a:endParaRPr lang="en-US" sz="900" b="1" kern="0" dirty="0">
              <a:solidFill>
                <a:srgbClr val="2C448F"/>
              </a:solidFill>
            </a:endParaRPr>
          </a:p>
        </p:txBody>
      </p:sp>
      <p:sp>
        <p:nvSpPr>
          <p:cNvPr id="58" name="Rectangle 57">
            <a:extLst>
              <a:ext uri="{FF2B5EF4-FFF2-40B4-BE49-F238E27FC236}">
                <a16:creationId xmlns:a16="http://schemas.microsoft.com/office/drawing/2014/main" id="{5E37DC63-F7A9-48AE-9EFF-755635246AE9}"/>
              </a:ext>
            </a:extLst>
          </p:cNvPr>
          <p:cNvSpPr/>
          <p:nvPr/>
        </p:nvSpPr>
        <p:spPr>
          <a:xfrm>
            <a:off x="8082751" y="3165558"/>
            <a:ext cx="1372061" cy="769441"/>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2C448F"/>
                </a:solidFill>
              </a:rPr>
              <a:t>Climate</a:t>
            </a:r>
          </a:p>
          <a:p>
            <a:pPr marL="171450" indent="-171450">
              <a:buFont typeface="Arial" panose="020B0604020202020204" pitchFamily="34" charset="0"/>
              <a:buChar char="•"/>
            </a:pPr>
            <a:r>
              <a:rPr lang="en-US" sz="1100" kern="0" dirty="0">
                <a:solidFill>
                  <a:srgbClr val="2C448F"/>
                </a:solidFill>
              </a:rPr>
              <a:t>Humidity</a:t>
            </a:r>
          </a:p>
          <a:p>
            <a:pPr marL="171450" indent="-171450">
              <a:buFont typeface="Arial" panose="020B0604020202020204" pitchFamily="34" charset="0"/>
              <a:buChar char="•"/>
            </a:pPr>
            <a:r>
              <a:rPr lang="en-US" sz="1100" kern="0" dirty="0">
                <a:solidFill>
                  <a:srgbClr val="2C448F"/>
                </a:solidFill>
              </a:rPr>
              <a:t>Environmental factors</a:t>
            </a:r>
          </a:p>
        </p:txBody>
      </p:sp>
      <p:cxnSp>
        <p:nvCxnSpPr>
          <p:cNvPr id="10" name="Straight Connector 9">
            <a:extLst>
              <a:ext uri="{FF2B5EF4-FFF2-40B4-BE49-F238E27FC236}">
                <a16:creationId xmlns:a16="http://schemas.microsoft.com/office/drawing/2014/main" id="{94DC4E43-87B5-47FB-B0DD-D9DAB03782E5}"/>
              </a:ext>
            </a:extLst>
          </p:cNvPr>
          <p:cNvCxnSpPr>
            <a:cxnSpLocks/>
          </p:cNvCxnSpPr>
          <p:nvPr/>
        </p:nvCxnSpPr>
        <p:spPr>
          <a:xfrm flipV="1">
            <a:off x="3709684" y="2612421"/>
            <a:ext cx="4837773" cy="408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D9199B8-D5F4-4D66-A0AD-36A8B5E83737}"/>
              </a:ext>
            </a:extLst>
          </p:cNvPr>
          <p:cNvCxnSpPr/>
          <p:nvPr/>
        </p:nvCxnSpPr>
        <p:spPr>
          <a:xfrm flipV="1">
            <a:off x="3709684" y="2614274"/>
            <a:ext cx="0" cy="5303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7D9199B8-D5F4-4D66-A0AD-36A8B5E83737}"/>
              </a:ext>
            </a:extLst>
          </p:cNvPr>
          <p:cNvCxnSpPr/>
          <p:nvPr/>
        </p:nvCxnSpPr>
        <p:spPr>
          <a:xfrm flipV="1">
            <a:off x="5373286" y="2604742"/>
            <a:ext cx="0" cy="52108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733F6B79-4661-4F0D-A691-893009E9BB45}"/>
              </a:ext>
            </a:extLst>
          </p:cNvPr>
          <p:cNvSpPr/>
          <p:nvPr/>
        </p:nvSpPr>
        <p:spPr>
          <a:xfrm>
            <a:off x="99273" y="6096471"/>
            <a:ext cx="11355208" cy="338554"/>
          </a:xfrm>
          <a:prstGeom prst="rect">
            <a:avLst/>
          </a:prstGeom>
        </p:spPr>
        <p:txBody>
          <a:bodyPr wrap="square">
            <a:spAutoFit/>
          </a:bodyPr>
          <a:lstStyle/>
          <a:p>
            <a:pPr algn="ctr" defTabSz="1016264" fontAlgn="base">
              <a:spcBef>
                <a:spcPct val="0"/>
              </a:spcBef>
              <a:spcAft>
                <a:spcPct val="0"/>
              </a:spcAft>
            </a:pPr>
            <a:r>
              <a:rPr lang="en-GB" sz="1600" b="1" dirty="0" smtClean="0">
                <a:solidFill>
                  <a:srgbClr val="2C448F"/>
                </a:solidFill>
              </a:rPr>
              <a:t>Scalable smart platform and sensor infrastructure for remote farm monitoring</a:t>
            </a:r>
            <a:endParaRPr lang="en-GB" sz="1600" b="1" dirty="0">
              <a:solidFill>
                <a:srgbClr val="2C448F"/>
              </a:solidFill>
            </a:endParaRPr>
          </a:p>
        </p:txBody>
      </p:sp>
      <p:pic>
        <p:nvPicPr>
          <p:cNvPr id="2052" name="Picture 4" descr="http://bzo.bosch.com/bzo/media/bnn/countries/asia_pacific/india/rbei/2019_8/images_3/Smart-Agriculture_Regional-news-image-W750_w1920_h1080.jpg"/>
          <p:cNvPicPr>
            <a:picLocks noChangeAspect="1" noChangeArrowheads="1"/>
          </p:cNvPicPr>
          <p:nvPr/>
        </p:nvPicPr>
        <p:blipFill rotWithShape="1">
          <a:blip r:embed="rId20">
            <a:extLst>
              <a:ext uri="{28A0092B-C50C-407E-A947-70E740481C1C}">
                <a14:useLocalDpi xmlns:a14="http://schemas.microsoft.com/office/drawing/2010/main" val="0"/>
              </a:ext>
            </a:extLst>
          </a:blip>
          <a:srcRect t="28434" b="34179"/>
          <a:stretch/>
        </p:blipFill>
        <p:spPr bwMode="auto">
          <a:xfrm>
            <a:off x="3160615" y="4040790"/>
            <a:ext cx="6302040" cy="176833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bzo.bosch.com/bzo/media/bnn/countries/asia_pacific/india/rbei/2019_8/images_3/Smart-Agriculture_Regional-news-image-W945-h532-1_w750_h422_fix.jp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16475" r="9423"/>
          <a:stretch/>
        </p:blipFill>
        <p:spPr bwMode="auto">
          <a:xfrm>
            <a:off x="9960309" y="440419"/>
            <a:ext cx="1771614" cy="1345218"/>
          </a:xfrm>
          <a:prstGeom prst="rect">
            <a:avLst/>
          </a:prstGeom>
          <a:noFill/>
          <a:extLst>
            <a:ext uri="{909E8E84-426E-40DD-AFC4-6F175D3DCCD1}">
              <a14:hiddenFill xmlns:a14="http://schemas.microsoft.com/office/drawing/2010/main">
                <a:solidFill>
                  <a:srgbClr val="FFFFFF"/>
                </a:solidFill>
              </a14:hiddenFill>
            </a:ext>
          </a:extLst>
        </p:spPr>
      </p:pic>
      <p:cxnSp>
        <p:nvCxnSpPr>
          <p:cNvPr id="90" name="Straight Arrow Connector 89">
            <a:extLst>
              <a:ext uri="{FF2B5EF4-FFF2-40B4-BE49-F238E27FC236}">
                <a16:creationId xmlns:a16="http://schemas.microsoft.com/office/drawing/2014/main" id="{7D9199B8-D5F4-4D66-A0AD-36A8B5E83737}"/>
              </a:ext>
            </a:extLst>
          </p:cNvPr>
          <p:cNvCxnSpPr/>
          <p:nvPr/>
        </p:nvCxnSpPr>
        <p:spPr>
          <a:xfrm flipV="1">
            <a:off x="6991130" y="2612421"/>
            <a:ext cx="0" cy="52108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8B062874-EE98-4FCF-B5BF-2DF5CF94EB52}"/>
              </a:ext>
            </a:extLst>
          </p:cNvPr>
          <p:cNvCxnSpPr>
            <a:cxnSpLocks/>
          </p:cNvCxnSpPr>
          <p:nvPr/>
        </p:nvCxnSpPr>
        <p:spPr>
          <a:xfrm>
            <a:off x="4172063" y="2897916"/>
            <a:ext cx="72227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8B062874-EE98-4FCF-B5BF-2DF5CF94EB52}"/>
              </a:ext>
            </a:extLst>
          </p:cNvPr>
          <p:cNvCxnSpPr>
            <a:cxnSpLocks/>
          </p:cNvCxnSpPr>
          <p:nvPr/>
        </p:nvCxnSpPr>
        <p:spPr>
          <a:xfrm>
            <a:off x="5843937" y="2897916"/>
            <a:ext cx="72227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8B062874-EE98-4FCF-B5BF-2DF5CF94EB52}"/>
              </a:ext>
            </a:extLst>
          </p:cNvPr>
          <p:cNvCxnSpPr>
            <a:cxnSpLocks/>
          </p:cNvCxnSpPr>
          <p:nvPr/>
        </p:nvCxnSpPr>
        <p:spPr>
          <a:xfrm>
            <a:off x="7278181" y="2917946"/>
            <a:ext cx="72227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7D9199B8-D5F4-4D66-A0AD-36A8B5E83737}"/>
              </a:ext>
            </a:extLst>
          </p:cNvPr>
          <p:cNvCxnSpPr/>
          <p:nvPr/>
        </p:nvCxnSpPr>
        <p:spPr>
          <a:xfrm flipV="1">
            <a:off x="8547457" y="2615187"/>
            <a:ext cx="0" cy="52108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144EEB78-96D7-4E64-BE0F-0970C01AFD4B}"/>
              </a:ext>
            </a:extLst>
          </p:cNvPr>
          <p:cNvSpPr txBox="1"/>
          <p:nvPr/>
        </p:nvSpPr>
        <p:spPr>
          <a:xfrm>
            <a:off x="8335251" y="2283930"/>
            <a:ext cx="651982" cy="265127"/>
          </a:xfrm>
          <a:prstGeom prst="rect">
            <a:avLst/>
          </a:prstGeom>
          <a:noFill/>
        </p:spPr>
        <p:txBody>
          <a:bodyPr wrap="none" lIns="0" tIns="0" rIns="0" bIns="0" rtlCol="0">
            <a:noAutofit/>
          </a:bodyPr>
          <a:lstStyle/>
          <a:p>
            <a:pPr algn="ctr">
              <a:lnSpc>
                <a:spcPct val="107000"/>
              </a:lnSpc>
            </a:pPr>
            <a:r>
              <a:rPr lang="en-US" sz="900" b="1" kern="0" dirty="0">
                <a:solidFill>
                  <a:srgbClr val="2C448F"/>
                </a:solidFill>
              </a:rPr>
              <a:t>Statistical &amp; </a:t>
            </a:r>
            <a:endParaRPr lang="en-US" sz="900" b="1" kern="0" dirty="0" smtClean="0">
              <a:solidFill>
                <a:srgbClr val="2C448F"/>
              </a:solidFill>
            </a:endParaRPr>
          </a:p>
          <a:p>
            <a:pPr algn="ctr">
              <a:lnSpc>
                <a:spcPct val="107000"/>
              </a:lnSpc>
            </a:pPr>
            <a:r>
              <a:rPr lang="en-US" sz="900" b="1" kern="0" dirty="0" smtClean="0">
                <a:solidFill>
                  <a:srgbClr val="2C448F"/>
                </a:solidFill>
              </a:rPr>
              <a:t>regression </a:t>
            </a:r>
            <a:r>
              <a:rPr lang="en-US" sz="900" b="1" kern="0" dirty="0">
                <a:solidFill>
                  <a:srgbClr val="2C448F"/>
                </a:solidFill>
              </a:rPr>
              <a:t>models</a:t>
            </a:r>
          </a:p>
        </p:txBody>
      </p:sp>
      <p:pic>
        <p:nvPicPr>
          <p:cNvPr id="2058" name="Picture 10" descr="Related imag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512064" y="1679871"/>
            <a:ext cx="554893" cy="55489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computer vision icon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103225" y="1711623"/>
            <a:ext cx="496627" cy="4966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A close up of a sign&#10;&#10;Description automatically generated">
            <a:extLst>
              <a:ext uri="{FF2B5EF4-FFF2-40B4-BE49-F238E27FC236}">
                <a16:creationId xmlns:a16="http://schemas.microsoft.com/office/drawing/2014/main" id="{A443F40A-6A64-4F33-B610-2C67ECDD74BF}"/>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637593" y="1766770"/>
            <a:ext cx="477058" cy="427590"/>
          </a:xfrm>
          <a:prstGeom prst="rect">
            <a:avLst/>
          </a:prstGeom>
        </p:spPr>
      </p:pic>
      <p:pic>
        <p:nvPicPr>
          <p:cNvPr id="111" name="Picture 110">
            <a:extLst>
              <a:ext uri="{FF2B5EF4-FFF2-40B4-BE49-F238E27FC236}">
                <a16:creationId xmlns:a16="http://schemas.microsoft.com/office/drawing/2014/main" id="{620B1EE1-A4E8-497C-8D16-D7FE578C52C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724847" y="1700812"/>
            <a:ext cx="483670" cy="648522"/>
          </a:xfrm>
          <a:prstGeom prst="rect">
            <a:avLst/>
          </a:prstGeom>
        </p:spPr>
      </p:pic>
      <p:pic>
        <p:nvPicPr>
          <p:cNvPr id="2064" name="Picture 16" descr="Image result for statistical models icon 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373142" y="1786442"/>
            <a:ext cx="562822" cy="46340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40ADE1AA-F3FD-4E96-9D7D-308F11D5788B}"/>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64206" t="58786" r="29507" b="25742"/>
          <a:stretch/>
        </p:blipFill>
        <p:spPr>
          <a:xfrm>
            <a:off x="10689975" y="4949074"/>
            <a:ext cx="792906" cy="1192276"/>
          </a:xfrm>
          <a:prstGeom prst="rect">
            <a:avLst/>
          </a:prstGeom>
        </p:spPr>
      </p:pic>
      <p:sp>
        <p:nvSpPr>
          <p:cNvPr id="56" name="Rectangle 55">
            <a:extLst>
              <a:ext uri="{FF2B5EF4-FFF2-40B4-BE49-F238E27FC236}">
                <a16:creationId xmlns:a16="http://schemas.microsoft.com/office/drawing/2014/main" id="{ED326623-A291-4DE8-B734-16FE698AEB7B}"/>
              </a:ext>
            </a:extLst>
          </p:cNvPr>
          <p:cNvSpPr/>
          <p:nvPr/>
        </p:nvSpPr>
        <p:spPr>
          <a:xfrm>
            <a:off x="577469" y="1879716"/>
            <a:ext cx="1183337" cy="400110"/>
          </a:xfrm>
          <a:prstGeom prst="rect">
            <a:avLst/>
          </a:prstGeom>
        </p:spPr>
        <p:txBody>
          <a:bodyPr wrap="none">
            <a:spAutoFit/>
          </a:bodyPr>
          <a:lstStyle/>
          <a:p>
            <a:pPr algn="ctr" defTabSz="1016264" fontAlgn="base">
              <a:spcBef>
                <a:spcPct val="0"/>
              </a:spcBef>
              <a:spcAft>
                <a:spcPct val="0"/>
              </a:spcAft>
            </a:pPr>
            <a:r>
              <a:rPr lang="en-GB" sz="2000" dirty="0" smtClean="0">
                <a:solidFill>
                  <a:srgbClr val="0070C0"/>
                </a:solidFill>
                <a:cs typeface="Arial" panose="020B0604020202020204" pitchFamily="34" charset="0"/>
              </a:rPr>
              <a:t>Situation</a:t>
            </a:r>
            <a:endParaRPr lang="en-GB" sz="2000" dirty="0">
              <a:solidFill>
                <a:srgbClr val="0070C0"/>
              </a:solidFill>
              <a:cs typeface="Arial" panose="020B0604020202020204" pitchFamily="34" charset="0"/>
            </a:endParaRPr>
          </a:p>
        </p:txBody>
      </p:sp>
      <p:grpSp>
        <p:nvGrpSpPr>
          <p:cNvPr id="57" name="Group 56">
            <a:extLst>
              <a:ext uri="{FF2B5EF4-FFF2-40B4-BE49-F238E27FC236}">
                <a16:creationId xmlns:a16="http://schemas.microsoft.com/office/drawing/2014/main" id="{0B866FEB-38E7-406E-AEDF-DEEA2C0BE2E4}"/>
              </a:ext>
            </a:extLst>
          </p:cNvPr>
          <p:cNvGrpSpPr/>
          <p:nvPr/>
        </p:nvGrpSpPr>
        <p:grpSpPr>
          <a:xfrm>
            <a:off x="89238" y="2584412"/>
            <a:ext cx="2920989" cy="900795"/>
            <a:chOff x="9533657" y="5648173"/>
            <a:chExt cx="2700694" cy="959990"/>
          </a:xfrm>
        </p:grpSpPr>
        <p:pic>
          <p:nvPicPr>
            <p:cNvPr id="59" name="Picture 58">
              <a:extLst>
                <a:ext uri="{FF2B5EF4-FFF2-40B4-BE49-F238E27FC236}">
                  <a16:creationId xmlns:a16="http://schemas.microsoft.com/office/drawing/2014/main" id="{A73244E3-08AB-4D6E-B568-B38991137B8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33657" y="5648173"/>
              <a:ext cx="688684" cy="787318"/>
            </a:xfrm>
            <a:prstGeom prst="rect">
              <a:avLst/>
            </a:prstGeom>
          </p:spPr>
        </p:pic>
        <p:sp>
          <p:nvSpPr>
            <p:cNvPr id="60" name="Rectangle 59">
              <a:extLst>
                <a:ext uri="{FF2B5EF4-FFF2-40B4-BE49-F238E27FC236}">
                  <a16:creationId xmlns:a16="http://schemas.microsoft.com/office/drawing/2014/main" id="{5D8DF19E-F603-4BFB-962C-15254EB86842}"/>
                </a:ext>
              </a:extLst>
            </p:cNvPr>
            <p:cNvSpPr/>
            <p:nvPr/>
          </p:nvSpPr>
          <p:spPr>
            <a:xfrm>
              <a:off x="10372095" y="5777166"/>
              <a:ext cx="1862256" cy="830997"/>
            </a:xfrm>
            <a:prstGeom prst="rect">
              <a:avLst/>
            </a:prstGeom>
          </p:spPr>
          <p:txBody>
            <a:bodyPr wrap="square">
              <a:spAutoFit/>
            </a:bodyPr>
            <a:lstStyle/>
            <a:p>
              <a:pPr defTabSz="1016264" fontAlgn="base">
                <a:spcBef>
                  <a:spcPct val="0"/>
                </a:spcBef>
                <a:spcAft>
                  <a:spcPct val="0"/>
                </a:spcAft>
              </a:pPr>
              <a:r>
                <a:rPr lang="en-US" sz="1200" b="1" dirty="0"/>
                <a:t>1800 hectares </a:t>
              </a:r>
              <a:r>
                <a:rPr lang="en-US" sz="1200" dirty="0"/>
                <a:t>farm employs close to </a:t>
              </a:r>
              <a:r>
                <a:rPr lang="en-US" sz="1200" b="1" dirty="0"/>
                <a:t>12000 workers</a:t>
              </a:r>
              <a:r>
                <a:rPr lang="en-US" sz="1200" dirty="0"/>
                <a:t> to manually harvest the berries</a:t>
              </a:r>
              <a:endParaRPr lang="en-GB" sz="1200" dirty="0">
                <a:solidFill>
                  <a:prstClr val="black"/>
                </a:solidFill>
              </a:endParaRPr>
            </a:p>
          </p:txBody>
        </p:sp>
      </p:grpSp>
      <p:grpSp>
        <p:nvGrpSpPr>
          <p:cNvPr id="67" name="Group 66">
            <a:extLst>
              <a:ext uri="{FF2B5EF4-FFF2-40B4-BE49-F238E27FC236}">
                <a16:creationId xmlns:a16="http://schemas.microsoft.com/office/drawing/2014/main" id="{44B7AA7D-5726-496A-BE1F-83A90BDA8474}"/>
              </a:ext>
            </a:extLst>
          </p:cNvPr>
          <p:cNvGrpSpPr/>
          <p:nvPr/>
        </p:nvGrpSpPr>
        <p:grpSpPr>
          <a:xfrm>
            <a:off x="130237" y="3809457"/>
            <a:ext cx="2833736" cy="676895"/>
            <a:chOff x="9536043" y="4871714"/>
            <a:chExt cx="2833736" cy="676895"/>
          </a:xfrm>
        </p:grpSpPr>
        <p:pic>
          <p:nvPicPr>
            <p:cNvPr id="69" name="Picture 68">
              <a:extLst>
                <a:ext uri="{FF2B5EF4-FFF2-40B4-BE49-F238E27FC236}">
                  <a16:creationId xmlns:a16="http://schemas.microsoft.com/office/drawing/2014/main" id="{8BF8A1DD-0678-464F-8797-B13C5743F5B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536043" y="4871714"/>
              <a:ext cx="747263" cy="676895"/>
            </a:xfrm>
            <a:prstGeom prst="rect">
              <a:avLst/>
            </a:prstGeom>
          </p:spPr>
        </p:pic>
        <p:sp>
          <p:nvSpPr>
            <p:cNvPr id="70" name="Rectangle 69">
              <a:extLst>
                <a:ext uri="{FF2B5EF4-FFF2-40B4-BE49-F238E27FC236}">
                  <a16:creationId xmlns:a16="http://schemas.microsoft.com/office/drawing/2014/main" id="{21293DF3-99D1-4E7C-8037-6E50CA8AF7F3}"/>
                </a:ext>
              </a:extLst>
            </p:cNvPr>
            <p:cNvSpPr/>
            <p:nvPr>
              <p:custDataLst>
                <p:tags r:id="rId7"/>
              </p:custDataLst>
            </p:nvPr>
          </p:nvSpPr>
          <p:spPr>
            <a:xfrm>
              <a:off x="10372095" y="4993132"/>
              <a:ext cx="1997684" cy="4340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16264" fontAlgn="base">
                <a:spcBef>
                  <a:spcPct val="0"/>
                </a:spcBef>
                <a:spcAft>
                  <a:spcPct val="0"/>
                </a:spcAft>
              </a:pPr>
              <a:r>
                <a:rPr lang="en-US" sz="1200" dirty="0" smtClean="0">
                  <a:solidFill>
                    <a:prstClr val="black"/>
                  </a:solidFill>
                </a:rPr>
                <a:t>Use </a:t>
              </a:r>
              <a:r>
                <a:rPr lang="en-US" sz="1200" dirty="0">
                  <a:solidFill>
                    <a:prstClr val="black"/>
                  </a:solidFill>
                </a:rPr>
                <a:t>technology to better estimate harvest </a:t>
              </a:r>
              <a:r>
                <a:rPr lang="en-US" sz="1200" b="1" dirty="0">
                  <a:solidFill>
                    <a:prstClr val="black"/>
                  </a:solidFill>
                </a:rPr>
                <a:t>dates</a:t>
              </a:r>
              <a:r>
                <a:rPr lang="en-US" sz="1200" dirty="0">
                  <a:solidFill>
                    <a:prstClr val="black"/>
                  </a:solidFill>
                </a:rPr>
                <a:t> and </a:t>
              </a:r>
              <a:r>
                <a:rPr lang="en-US" sz="1200" b="1" dirty="0">
                  <a:solidFill>
                    <a:prstClr val="black"/>
                  </a:solidFill>
                </a:rPr>
                <a:t>volume</a:t>
              </a:r>
              <a:r>
                <a:rPr lang="en-US" sz="1200" dirty="0">
                  <a:solidFill>
                    <a:prstClr val="black"/>
                  </a:solidFill>
                </a:rPr>
                <a:t> of the harvest</a:t>
              </a:r>
              <a:endParaRPr lang="en-GB" sz="1200" dirty="0">
                <a:solidFill>
                  <a:prstClr val="black"/>
                </a:solidFill>
                <a:latin typeface="Bosch Office Sans"/>
              </a:endParaRPr>
            </a:p>
          </p:txBody>
        </p:sp>
      </p:grpSp>
      <p:grpSp>
        <p:nvGrpSpPr>
          <p:cNvPr id="71" name="Group 70">
            <a:extLst>
              <a:ext uri="{FF2B5EF4-FFF2-40B4-BE49-F238E27FC236}">
                <a16:creationId xmlns:a16="http://schemas.microsoft.com/office/drawing/2014/main" id="{0BE67401-8794-4BD1-8961-62F72B1F1B8F}"/>
              </a:ext>
            </a:extLst>
          </p:cNvPr>
          <p:cNvGrpSpPr/>
          <p:nvPr/>
        </p:nvGrpSpPr>
        <p:grpSpPr>
          <a:xfrm>
            <a:off x="56740" y="4949957"/>
            <a:ext cx="2775048" cy="737062"/>
            <a:chOff x="9520686" y="4026380"/>
            <a:chExt cx="2775048" cy="737062"/>
          </a:xfrm>
        </p:grpSpPr>
        <p:pic>
          <p:nvPicPr>
            <p:cNvPr id="73" name="Picture 72">
              <a:extLst>
                <a:ext uri="{FF2B5EF4-FFF2-40B4-BE49-F238E27FC236}">
                  <a16:creationId xmlns:a16="http://schemas.microsoft.com/office/drawing/2014/main" id="{51EFA1EB-826C-4C96-8212-1D57F30E2D3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520686" y="4026380"/>
              <a:ext cx="747263" cy="737062"/>
            </a:xfrm>
            <a:prstGeom prst="rect">
              <a:avLst/>
            </a:prstGeom>
          </p:spPr>
        </p:pic>
        <p:sp>
          <p:nvSpPr>
            <p:cNvPr id="76" name="Rectangle 75">
              <a:extLst>
                <a:ext uri="{FF2B5EF4-FFF2-40B4-BE49-F238E27FC236}">
                  <a16:creationId xmlns:a16="http://schemas.microsoft.com/office/drawing/2014/main" id="{A9516828-AB53-4416-8CE9-A7FB48D029E7}"/>
                </a:ext>
              </a:extLst>
            </p:cNvPr>
            <p:cNvSpPr/>
            <p:nvPr>
              <p:custDataLst>
                <p:tags r:id="rId6"/>
              </p:custDataLst>
            </p:nvPr>
          </p:nvSpPr>
          <p:spPr>
            <a:xfrm>
              <a:off x="10369493" y="4228143"/>
              <a:ext cx="1926241" cy="3335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16264" fontAlgn="base">
                <a:spcBef>
                  <a:spcPct val="0"/>
                </a:spcBef>
                <a:spcAft>
                  <a:spcPct val="0"/>
                </a:spcAft>
              </a:pPr>
              <a:r>
                <a:rPr lang="en-US" sz="1200" dirty="0">
                  <a:solidFill>
                    <a:prstClr val="black"/>
                  </a:solidFill>
                </a:rPr>
                <a:t>L</a:t>
              </a:r>
              <a:r>
                <a:rPr lang="en-US" sz="1200" dirty="0" smtClean="0">
                  <a:solidFill>
                    <a:prstClr val="black"/>
                  </a:solidFill>
                </a:rPr>
                <a:t>ife </a:t>
              </a:r>
              <a:r>
                <a:rPr lang="en-US" sz="1200" dirty="0">
                  <a:solidFill>
                    <a:prstClr val="black"/>
                  </a:solidFill>
                </a:rPr>
                <a:t>cycle of a blueberry goes through </a:t>
              </a:r>
              <a:r>
                <a:rPr lang="en-US" sz="1200" b="1" dirty="0" smtClean="0">
                  <a:solidFill>
                    <a:prstClr val="black"/>
                  </a:solidFill>
                </a:rPr>
                <a:t>7 different </a:t>
              </a:r>
              <a:r>
                <a:rPr lang="en-US" sz="1200" b="1" dirty="0">
                  <a:solidFill>
                    <a:prstClr val="black"/>
                  </a:solidFill>
                </a:rPr>
                <a:t>stages</a:t>
              </a:r>
              <a:r>
                <a:rPr lang="en-US" sz="1200" dirty="0">
                  <a:solidFill>
                    <a:prstClr val="black"/>
                  </a:solidFill>
                </a:rPr>
                <a:t> and lasts </a:t>
              </a:r>
              <a:r>
                <a:rPr lang="en-US" sz="1200" b="1" dirty="0">
                  <a:solidFill>
                    <a:prstClr val="black"/>
                  </a:solidFill>
                </a:rPr>
                <a:t>87 days</a:t>
              </a:r>
              <a:endParaRPr lang="en-GB" sz="1200" b="1" dirty="0">
                <a:solidFill>
                  <a:prstClr val="black"/>
                </a:solidFill>
                <a:latin typeface="Bosch Office Sans"/>
              </a:endParaRPr>
            </a:p>
          </p:txBody>
        </p:sp>
      </p:grpSp>
    </p:spTree>
    <p:custDataLst>
      <p:tags r:id="rId1"/>
    </p:custDataLst>
    <p:extLst>
      <p:ext uri="{BB962C8B-B14F-4D97-AF65-F5344CB8AC3E}">
        <p14:creationId xmlns:p14="http://schemas.microsoft.com/office/powerpoint/2010/main" val="2364610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500"/>
                                        <p:tgtEl>
                                          <p:spTgt spid="5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fade">
                                      <p:cBhvr>
                                        <p:cTn id="27" dur="500"/>
                                        <p:tgtEl>
                                          <p:spTgt spid="5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500"/>
                                        <p:tgtEl>
                                          <p:spTgt spid="64"/>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500"/>
                                        <p:tgtEl>
                                          <p:spTgt spid="56"/>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57"/>
                                        </p:tgtEl>
                                        <p:attrNameLst>
                                          <p:attrName>style.visibility</p:attrName>
                                        </p:attrNameLst>
                                      </p:cBhvr>
                                      <p:to>
                                        <p:strVal val="visible"/>
                                      </p:to>
                                    </p:set>
                                    <p:animEffect transition="in" filter="fade">
                                      <p:cBhvr>
                                        <p:cTn id="47" dur="500"/>
                                        <p:tgtEl>
                                          <p:spTgt spid="57"/>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67"/>
                                        </p:tgtEl>
                                        <p:attrNameLst>
                                          <p:attrName>style.visibility</p:attrName>
                                        </p:attrNameLst>
                                      </p:cBhvr>
                                      <p:to>
                                        <p:strVal val="visible"/>
                                      </p:to>
                                    </p:set>
                                    <p:animEffect transition="in" filter="fade">
                                      <p:cBhvr>
                                        <p:cTn id="51" dur="500"/>
                                        <p:tgtEl>
                                          <p:spTgt spid="67"/>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71"/>
                                        </p:tgtEl>
                                        <p:attrNameLst>
                                          <p:attrName>style.visibility</p:attrName>
                                        </p:attrNameLst>
                                      </p:cBhvr>
                                      <p:to>
                                        <p:strVal val="visible"/>
                                      </p:to>
                                    </p:set>
                                    <p:animEffect transition="in" filter="fade">
                                      <p:cBhvr>
                                        <p:cTn id="55"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32" grpId="0"/>
      <p:bldP spid="64" grpId="0"/>
      <p:bldP spid="5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p:cNvPicPr>
          <p:nvPr>
            <p:custDataLst>
              <p:tags r:id="rId2"/>
            </p:custDataLst>
          </p:nvPr>
        </p:nvPicPr>
        <p:blipFill>
          <a:blip r:embed="rId9">
            <a:extLst>
              <a:ext uri="{28A0092B-C50C-407E-A947-70E740481C1C}">
                <a14:useLocalDpi xmlns:a14="http://schemas.microsoft.com/office/drawing/2010/main" val="0"/>
              </a:ext>
            </a:extLst>
          </a:blip>
          <a:stretch>
            <a:fillRect/>
          </a:stretch>
        </p:blipFill>
        <p:spPr>
          <a:xfrm>
            <a:off x="196" y="0"/>
            <a:ext cx="12192314" cy="6858353"/>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Subtitle 1" hidden="1"/>
          <p:cNvSpPr>
            <a:spLocks noGrp="1"/>
          </p:cNvSpPr>
          <p:nvPr>
            <p:ph type="subTitle" idx="1"/>
            <p:custDataLst>
              <p:tags r:id="rId3"/>
            </p:custDataLst>
          </p:nvPr>
        </p:nvSpPr>
        <p:spPr>
          <a:xfrm>
            <a:off x="197" y="0"/>
            <a:ext cx="1411474" cy="141147"/>
          </a:xfrm>
          <a:effectLst/>
          <a:extLst>
            <a:ext uri="{53640926-AAD7-44D8-BBD7-CCE9431645EC}">
              <a14:shadowObscured xmlns:a14="http://schemas.microsoft.com/office/drawing/2010/main"/>
            </a:ext>
          </a:extLst>
        </p:spPr>
        <p:txBody>
          <a:bodyPr vert="horz" wrap="none" lIns="0" tIns="0" rIns="0" bIns="0" rtlCol="0" anchor="t">
            <a:noAutofit/>
          </a:bodyPr>
          <a:lstStyle/>
          <a:p>
            <a:endParaRPr lang="en-GB"/>
          </a:p>
        </p:txBody>
      </p:sp>
      <p:pic>
        <p:nvPicPr>
          <p:cNvPr id="5" name="Picture 4"/>
          <p:cNvPicPr>
            <a:picLocks/>
          </p:cNvPicPr>
          <p:nvPr>
            <p:custDataLst>
              <p:tags r:id="rId4"/>
            </p:custDataLst>
          </p:nvPr>
        </p:nvPicPr>
        <p:blipFill>
          <a:blip r:embed="rId10"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p:custDataLst>
              <p:tags r:id="rId5"/>
            </p:custDataLst>
          </p:nvPr>
        </p:nvPicPr>
        <p:blipFill>
          <a:blip r:embed="rId11" cstate="print">
            <a:extLst>
              <a:ext uri="{28A0092B-C50C-407E-A947-70E740481C1C}">
                <a14:useLocalDpi xmlns:a14="http://schemas.microsoft.com/office/drawing/2010/main" val="0"/>
              </a:ext>
            </a:extLst>
          </a:blip>
          <a:stretch>
            <a:fillRect/>
          </a:stretch>
        </p:blipFill>
        <p:spPr>
          <a:xfrm>
            <a:off x="12048540" y="0"/>
            <a:ext cx="143970" cy="6858353"/>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3" name="Title 2"/>
          <p:cNvSpPr>
            <a:spLocks noGrp="1"/>
          </p:cNvSpPr>
          <p:nvPr>
            <p:ph type="ctrTitle"/>
            <p:custDataLst>
              <p:tags r:id="rId6"/>
            </p:custDataLst>
          </p:nvPr>
        </p:nvSpPr>
        <p:spPr>
          <a:xfrm>
            <a:off x="288137" y="287941"/>
            <a:ext cx="10972800" cy="5784221"/>
          </a:xfrm>
          <a:effectLst/>
          <a:extLst>
            <a:ext uri="{53640926-AAD7-44D8-BBD7-CCE9431645EC}">
              <a14:shadowObscured xmlns:a14="http://schemas.microsoft.com/office/drawing/2010/main"/>
            </a:ext>
          </a:extLst>
        </p:spPr>
        <p:txBody>
          <a:bodyPr vert="horz" wrap="square" lIns="0" tIns="0" rIns="0" bIns="0" rtlCol="0" anchor="t">
            <a:noAutofit/>
          </a:bodyPr>
          <a:lstStyle/>
          <a:p>
            <a:r>
              <a:rPr lang="en-GB" sz="8002" dirty="0"/>
              <a:t/>
            </a:r>
            <a:br>
              <a:rPr lang="en-GB" sz="8002" dirty="0"/>
            </a:br>
            <a:r>
              <a:rPr lang="en-GB" sz="8002" dirty="0"/>
              <a:t/>
            </a:r>
            <a:br>
              <a:rPr lang="en-GB" sz="8002" dirty="0"/>
            </a:br>
            <a:r>
              <a:rPr lang="en-GB" sz="8002" dirty="0"/>
              <a:t/>
            </a:r>
            <a:br>
              <a:rPr lang="en-GB" sz="8002" dirty="0"/>
            </a:br>
            <a:r>
              <a:rPr lang="en-GB" sz="8002" dirty="0"/>
              <a:t/>
            </a:r>
            <a:br>
              <a:rPr lang="en-GB" sz="8002" dirty="0"/>
            </a:br>
            <a:r>
              <a:rPr lang="en-GB" sz="8002" dirty="0"/>
              <a:t/>
            </a:r>
            <a:br>
              <a:rPr lang="en-GB" sz="8002" dirty="0"/>
            </a:br>
            <a:r>
              <a:rPr lang="en-GB" sz="8002" dirty="0"/>
              <a:t/>
            </a:r>
            <a:br>
              <a:rPr lang="en-GB" sz="8002" dirty="0"/>
            </a:br>
            <a:r>
              <a:rPr lang="en-GB" sz="8002" dirty="0"/>
              <a:t/>
            </a:r>
            <a:br>
              <a:rPr lang="en-GB" sz="8002" dirty="0"/>
            </a:br>
            <a:r>
              <a:rPr lang="en-GB" sz="8002" dirty="0"/>
              <a:t>			Thank You</a:t>
            </a:r>
          </a:p>
        </p:txBody>
      </p:sp>
      <p:sp>
        <p:nvSpPr>
          <p:cNvPr id="7" name="Title 2"/>
          <p:cNvSpPr txBox="1">
            <a:spLocks/>
          </p:cNvSpPr>
          <p:nvPr>
            <p:custDataLst>
              <p:tags r:id="rId7"/>
            </p:custDataLst>
          </p:nvPr>
        </p:nvSpPr>
        <p:spPr>
          <a:xfrm>
            <a:off x="1292750" y="868408"/>
            <a:ext cx="9872980" cy="5204460"/>
          </a:xfrm>
          <a:prstGeom prst="rect">
            <a:avLst/>
          </a:prstGeom>
          <a:effectLst/>
          <a:extLst>
            <a:ext uri="{53640926-AAD7-44D8-BBD7-CCE9431645EC}">
              <a14:shadowObscured xmlns:a14="http://schemas.microsoft.com/office/drawing/2010/main"/>
            </a:ext>
          </a:extLst>
        </p:spPr>
        <p:txBody>
          <a:bodyPr vert="horz" wrap="square" lIns="0" tIns="0" rIns="0" bIns="0" rtlCol="0" anchor="t">
            <a:noAutofit/>
          </a:bodyPr>
          <a:lstStyle>
            <a:lvl1pPr algn="ctr" defTabSz="914333" rtl="0" eaLnBrk="1" latinLnBrk="0" hangingPunct="1">
              <a:lnSpc>
                <a:spcPct val="90000"/>
              </a:lnSpc>
              <a:spcBef>
                <a:spcPct val="0"/>
              </a:spcBef>
              <a:buNone/>
              <a:defRPr sz="5999" kern="1200">
                <a:solidFill>
                  <a:schemeClr val="tx1"/>
                </a:solidFill>
                <a:latin typeface="+mj-lt"/>
                <a:ea typeface="+mj-ea"/>
                <a:cs typeface="+mj-cs"/>
              </a:defRPr>
            </a:lvl1pPr>
          </a:lstStyle>
          <a:p>
            <a:r>
              <a:rPr lang="en-GB" sz="7200" dirty="0" smtClean="0"/>
              <a:t/>
            </a:r>
            <a:br>
              <a:rPr lang="en-GB" sz="7200" dirty="0" smtClean="0"/>
            </a:br>
            <a:r>
              <a:rPr lang="en-GB" sz="7200" dirty="0" smtClean="0"/>
              <a:t/>
            </a:r>
            <a:br>
              <a:rPr lang="en-GB" sz="7200" dirty="0" smtClean="0"/>
            </a:br>
            <a:r>
              <a:rPr lang="en-GB" sz="7200" b="1" dirty="0" smtClean="0"/>
              <a:t>Thank You</a:t>
            </a:r>
            <a:r>
              <a:rPr lang="en-GB" sz="7200" dirty="0" smtClean="0"/>
              <a:t/>
            </a:r>
            <a:br>
              <a:rPr lang="en-GB" sz="7200" dirty="0" smtClean="0"/>
            </a:br>
            <a:r>
              <a:rPr lang="en-GB" sz="7200" dirty="0" smtClean="0"/>
              <a:t/>
            </a:r>
            <a:br>
              <a:rPr lang="en-GB" sz="7200" dirty="0" smtClean="0"/>
            </a:br>
            <a:r>
              <a:rPr lang="en-GB" sz="7200" dirty="0" smtClean="0"/>
              <a:t/>
            </a:r>
            <a:br>
              <a:rPr lang="en-GB" sz="7200" dirty="0" smtClean="0"/>
            </a:br>
            <a:r>
              <a:rPr lang="en-GB" sz="7200" dirty="0" smtClean="0"/>
              <a:t/>
            </a:r>
            <a:br>
              <a:rPr lang="en-GB" sz="7200" dirty="0" smtClean="0"/>
            </a:br>
            <a:r>
              <a:rPr lang="en-GB" sz="7200" dirty="0" smtClean="0"/>
              <a:t/>
            </a:r>
            <a:br>
              <a:rPr lang="en-GB" sz="7200" dirty="0" smtClean="0"/>
            </a:br>
            <a:r>
              <a:rPr lang="en-GB" sz="7200" dirty="0" smtClean="0"/>
              <a:t>			Thank You</a:t>
            </a:r>
            <a:endParaRPr lang="en-GB" sz="7200" dirty="0"/>
          </a:p>
        </p:txBody>
      </p:sp>
    </p:spTree>
    <p:custDataLst>
      <p:tags r:id="rId1"/>
    </p:custDataLst>
    <p:extLst>
      <p:ext uri="{BB962C8B-B14F-4D97-AF65-F5344CB8AC3E}">
        <p14:creationId xmlns:p14="http://schemas.microsoft.com/office/powerpoint/2010/main" val="22202662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Visual Computing for Advanced OCR: Problem Statement</a:t>
            </a:r>
            <a:endParaRPr lang="en-US" sz="3112" dirty="0">
              <a:solidFill>
                <a:srgbClr val="08427E"/>
              </a:solidFill>
            </a:endParaRPr>
          </a:p>
        </p:txBody>
      </p:sp>
      <p:pic>
        <p:nvPicPr>
          <p:cNvPr id="18" name="Grafik 13"/>
          <p:cNvPicPr>
            <a:picLocks/>
          </p:cNvPicPr>
          <p:nvPr>
            <p:custDataLst>
              <p:tags r:id="rId6"/>
            </p:custDataLst>
          </p:nvPr>
        </p:nvPicPr>
        <p:blipFill>
          <a:blip r:embed="rId9"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3" name="TextBox 2"/>
          <p:cNvSpPr txBox="1"/>
          <p:nvPr/>
        </p:nvSpPr>
        <p:spPr>
          <a:xfrm>
            <a:off x="288137" y="1461052"/>
            <a:ext cx="7066820" cy="5698996"/>
          </a:xfrm>
          <a:prstGeom prst="rect">
            <a:avLst/>
          </a:prstGeom>
          <a:noFill/>
        </p:spPr>
        <p:txBody>
          <a:bodyPr wrap="square" rtlCol="0">
            <a:spAutoFit/>
          </a:bodyPr>
          <a:lstStyle/>
          <a:p>
            <a:pPr lvl="0">
              <a:lnSpc>
                <a:spcPct val="150000"/>
              </a:lnSpc>
              <a:spcBef>
                <a:spcPts val="1200"/>
              </a:spcBef>
              <a:spcAft>
                <a:spcPts val="600"/>
              </a:spcAft>
            </a:pPr>
            <a:r>
              <a:rPr lang="en-US" sz="2400" dirty="0">
                <a:solidFill>
                  <a:prstClr val="black"/>
                </a:solidFill>
              </a:rPr>
              <a:t>The overall idea behind this project  is </a:t>
            </a:r>
            <a:r>
              <a:rPr lang="en-US" sz="2400" dirty="0" smtClean="0">
                <a:solidFill>
                  <a:prstClr val="black"/>
                </a:solidFill>
              </a:rPr>
              <a:t>to:</a:t>
            </a:r>
          </a:p>
          <a:p>
            <a:pPr marL="342900" lvl="0" indent="-342900">
              <a:lnSpc>
                <a:spcPct val="150000"/>
              </a:lnSpc>
              <a:spcBef>
                <a:spcPts val="1200"/>
              </a:spcBef>
              <a:spcAft>
                <a:spcPts val="600"/>
              </a:spcAft>
              <a:buFont typeface="Wingdings" panose="05000000000000000000" pitchFamily="2" charset="2"/>
              <a:buChar char="ü"/>
            </a:pPr>
            <a:r>
              <a:rPr lang="en-US" sz="2400" dirty="0" smtClean="0">
                <a:solidFill>
                  <a:prstClr val="black"/>
                </a:solidFill>
              </a:rPr>
              <a:t>Develop </a:t>
            </a:r>
            <a:r>
              <a:rPr lang="en-US" sz="2400" dirty="0">
                <a:solidFill>
                  <a:prstClr val="black"/>
                </a:solidFill>
              </a:rPr>
              <a:t>an computer vision algorithm along with solution </a:t>
            </a:r>
            <a:r>
              <a:rPr lang="en-US" sz="2400" dirty="0" smtClean="0">
                <a:solidFill>
                  <a:prstClr val="black"/>
                </a:solidFill>
              </a:rPr>
              <a:t>package </a:t>
            </a:r>
            <a:r>
              <a:rPr lang="en-US" sz="2400" dirty="0">
                <a:solidFill>
                  <a:prstClr val="black"/>
                </a:solidFill>
              </a:rPr>
              <a:t>for recognizing and digitizing steps of solving a mathematical equation written by freehand </a:t>
            </a:r>
            <a:r>
              <a:rPr lang="en-US" sz="2400" dirty="0" smtClean="0">
                <a:solidFill>
                  <a:prstClr val="black"/>
                </a:solidFill>
              </a:rPr>
              <a:t>on </a:t>
            </a:r>
            <a:r>
              <a:rPr lang="en-US" sz="2400" dirty="0">
                <a:solidFill>
                  <a:prstClr val="black"/>
                </a:solidFill>
              </a:rPr>
              <a:t>a </a:t>
            </a:r>
            <a:r>
              <a:rPr lang="en-US" sz="2400" dirty="0" smtClean="0">
                <a:solidFill>
                  <a:prstClr val="black"/>
                </a:solidFill>
              </a:rPr>
              <a:t>paper</a:t>
            </a:r>
          </a:p>
          <a:p>
            <a:pPr marL="342900" lvl="0" indent="-342900">
              <a:lnSpc>
                <a:spcPct val="150000"/>
              </a:lnSpc>
              <a:spcBef>
                <a:spcPts val="1200"/>
              </a:spcBef>
              <a:spcAft>
                <a:spcPts val="600"/>
              </a:spcAft>
              <a:buFont typeface="Wingdings" panose="05000000000000000000" pitchFamily="2" charset="2"/>
              <a:buChar char="ü"/>
            </a:pPr>
            <a:r>
              <a:rPr lang="en-US" sz="2400" dirty="0" smtClean="0">
                <a:solidFill>
                  <a:prstClr val="black"/>
                </a:solidFill>
              </a:rPr>
              <a:t>Validating </a:t>
            </a:r>
            <a:r>
              <a:rPr lang="en-US" sz="2400" dirty="0">
                <a:solidFill>
                  <a:prstClr val="black"/>
                </a:solidFill>
              </a:rPr>
              <a:t>the steps and final answer of the recognized handwritten lines by maintaining </a:t>
            </a:r>
            <a:r>
              <a:rPr lang="en-US" sz="2400" dirty="0" smtClean="0">
                <a:solidFill>
                  <a:prstClr val="black"/>
                </a:solidFill>
              </a:rPr>
              <a:t>the </a:t>
            </a:r>
            <a:r>
              <a:rPr lang="en-US" sz="2400" dirty="0">
                <a:solidFill>
                  <a:prstClr val="black"/>
                </a:solidFill>
              </a:rPr>
              <a:t>context</a:t>
            </a:r>
          </a:p>
          <a:p>
            <a:pPr lvl="0">
              <a:lnSpc>
                <a:spcPts val="2300"/>
              </a:lnSpc>
              <a:spcBef>
                <a:spcPts val="500"/>
              </a:spcBef>
            </a:pPr>
            <a:endParaRPr lang="en-US" sz="2400" kern="0" dirty="0">
              <a:solidFill>
                <a:srgbClr val="000000"/>
              </a:solidFill>
            </a:endParaRPr>
          </a:p>
          <a:p>
            <a:endParaRPr lang="en-US" dirty="0"/>
          </a:p>
        </p:txBody>
      </p:sp>
      <p:pic>
        <p:nvPicPr>
          <p:cNvPr id="22" name="Picture 2" descr="Image result for checklist tick"/>
          <p:cNvPicPr>
            <a:picLocks noChangeAspect="1" noChangeArrowheads="1"/>
          </p:cNvPicPr>
          <p:nvPr/>
        </p:nvPicPr>
        <p:blipFill rotWithShape="1">
          <a:blip r:embed="rId11" cstate="hqprint">
            <a:extLst>
              <a:ext uri="{28A0092B-C50C-407E-A947-70E740481C1C}">
                <a14:useLocalDpi xmlns:a14="http://schemas.microsoft.com/office/drawing/2010/main" val="0"/>
              </a:ext>
            </a:extLst>
          </a:blip>
          <a:srcRect l="21714" t="11581" r="21128" b="13285"/>
          <a:stretch/>
        </p:blipFill>
        <p:spPr bwMode="auto">
          <a:xfrm>
            <a:off x="8605944" y="1754898"/>
            <a:ext cx="1287700" cy="179846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637735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Visual Computing for Advanced OCR: Approaches</a:t>
            </a:r>
            <a:endParaRPr lang="en-US" sz="3112" dirty="0">
              <a:solidFill>
                <a:srgbClr val="08427E"/>
              </a:solidFill>
            </a:endParaRPr>
          </a:p>
        </p:txBody>
      </p:sp>
      <p:pic>
        <p:nvPicPr>
          <p:cNvPr id="18" name="Grafik 13"/>
          <p:cNvPicPr>
            <a:picLocks/>
          </p:cNvPicPr>
          <p:nvPr>
            <p:custDataLst>
              <p:tags r:id="rId6"/>
            </p:custDataLst>
          </p:nvPr>
        </p:nvPicPr>
        <p:blipFill>
          <a:blip r:embed="rId9"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34" name="Picture 2" descr="Image result for tesseract deep learni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90258" y="1256863"/>
            <a:ext cx="1751680" cy="113859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latex software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67532" y="3284571"/>
            <a:ext cx="1197133" cy="9577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lstm encoder decode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294" y="4882606"/>
            <a:ext cx="2103608" cy="8919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88137" y="1368519"/>
            <a:ext cx="9226157" cy="5922134"/>
          </a:xfrm>
          <a:prstGeom prst="rect">
            <a:avLst/>
          </a:prstGeom>
          <a:noFill/>
        </p:spPr>
        <p:txBody>
          <a:bodyPr wrap="square" rtlCol="0">
            <a:spAutoFit/>
          </a:bodyPr>
          <a:lstStyle/>
          <a:p>
            <a:pPr lvl="0">
              <a:lnSpc>
                <a:spcPts val="2300"/>
              </a:lnSpc>
              <a:spcBef>
                <a:spcPts val="500"/>
              </a:spcBef>
            </a:pPr>
            <a:r>
              <a:rPr lang="en-US" b="1" kern="0" dirty="0">
                <a:solidFill>
                  <a:srgbClr val="000000"/>
                </a:solidFill>
                <a:latin typeface="Bosch Office Sans" pitchFamily="34" charset="0"/>
              </a:rPr>
              <a:t>1. Using TESSERACT based OCR Deep Learning Model</a:t>
            </a:r>
          </a:p>
          <a:p>
            <a:pPr marL="628650" lvl="1" indent="-171450">
              <a:lnSpc>
                <a:spcPts val="2300"/>
              </a:lnSpc>
              <a:spcBef>
                <a:spcPts val="500"/>
              </a:spcBef>
              <a:buFont typeface="Arial" panose="020B0604020202020204" pitchFamily="34" charset="0"/>
              <a:buChar char="•"/>
            </a:pPr>
            <a:r>
              <a:rPr lang="en-US" dirty="0"/>
              <a:t>Tesseract 4 adds a new neural net (LSTM) based OCR engine which is focused on line  recognition. </a:t>
            </a:r>
          </a:p>
          <a:p>
            <a:pPr marL="628650" lvl="1" indent="-171450">
              <a:lnSpc>
                <a:spcPts val="2300"/>
              </a:lnSpc>
              <a:spcBef>
                <a:spcPts val="500"/>
              </a:spcBef>
              <a:buFont typeface="Arial" panose="020B0604020202020204" pitchFamily="34" charset="0"/>
              <a:buChar char="•"/>
            </a:pPr>
            <a:r>
              <a:rPr lang="en-US" dirty="0"/>
              <a:t>It also has a unique configuration option for detecting equation region in the document</a:t>
            </a:r>
            <a:r>
              <a:rPr lang="en-US" dirty="0" smtClean="0"/>
              <a:t>.</a:t>
            </a:r>
          </a:p>
          <a:p>
            <a:pPr>
              <a:lnSpc>
                <a:spcPts val="2300"/>
              </a:lnSpc>
              <a:spcBef>
                <a:spcPts val="500"/>
              </a:spcBef>
            </a:pPr>
            <a:r>
              <a:rPr lang="en-US" sz="1600" i="1" kern="0" dirty="0">
                <a:solidFill>
                  <a:srgbClr val="000000"/>
                </a:solidFill>
              </a:rPr>
              <a:t>Note : </a:t>
            </a:r>
            <a:r>
              <a:rPr lang="en-US" sz="1600" i="1" dirty="0"/>
              <a:t>We may need to retrain the tesseract on handwritten mathematical expressions to improve </a:t>
            </a:r>
            <a:r>
              <a:rPr lang="en-US" sz="1600" i="1" dirty="0" smtClean="0"/>
              <a:t>accuracy</a:t>
            </a:r>
          </a:p>
          <a:p>
            <a:pPr>
              <a:lnSpc>
                <a:spcPts val="2300"/>
              </a:lnSpc>
              <a:spcBef>
                <a:spcPts val="500"/>
              </a:spcBef>
            </a:pPr>
            <a:endParaRPr lang="en-US" sz="1600" dirty="0" smtClean="0"/>
          </a:p>
          <a:p>
            <a:pPr>
              <a:lnSpc>
                <a:spcPts val="2300"/>
              </a:lnSpc>
              <a:spcBef>
                <a:spcPts val="500"/>
              </a:spcBef>
            </a:pPr>
            <a:r>
              <a:rPr lang="en-US" b="1" kern="0" dirty="0" smtClean="0">
                <a:solidFill>
                  <a:srgbClr val="000000"/>
                </a:solidFill>
                <a:latin typeface="Bosch Office Sans" pitchFamily="34" charset="0"/>
              </a:rPr>
              <a:t>2</a:t>
            </a:r>
            <a:r>
              <a:rPr lang="en-US" b="1" kern="0" dirty="0">
                <a:solidFill>
                  <a:srgbClr val="000000"/>
                </a:solidFill>
                <a:latin typeface="Bosch Office Sans" pitchFamily="34" charset="0"/>
              </a:rPr>
              <a:t>. Image-to-Markup Generation Latex based Deep Learning </a:t>
            </a:r>
            <a:r>
              <a:rPr lang="en-US" b="1" kern="0" dirty="0" smtClean="0">
                <a:solidFill>
                  <a:srgbClr val="000000"/>
                </a:solidFill>
                <a:latin typeface="Bosch Office Sans" pitchFamily="34" charset="0"/>
              </a:rPr>
              <a:t>Model</a:t>
            </a:r>
          </a:p>
          <a:p>
            <a:pPr marL="628650" lvl="1" indent="-171450">
              <a:lnSpc>
                <a:spcPts val="2300"/>
              </a:lnSpc>
              <a:spcBef>
                <a:spcPts val="500"/>
              </a:spcBef>
              <a:buFont typeface="Arial" panose="020B0604020202020204" pitchFamily="34" charset="0"/>
              <a:buChar char="•"/>
            </a:pPr>
            <a:r>
              <a:rPr lang="en-US" dirty="0" smtClean="0"/>
              <a:t>Attention </a:t>
            </a:r>
            <a:r>
              <a:rPr lang="en-US" dirty="0"/>
              <a:t>based encoder-decoder model to convert images to </a:t>
            </a:r>
            <a:r>
              <a:rPr lang="en-US" dirty="0" err="1" smtClean="0"/>
              <a:t>LaTex</a:t>
            </a:r>
            <a:endParaRPr lang="en-US" dirty="0" smtClean="0"/>
          </a:p>
          <a:p>
            <a:pPr marL="628650" lvl="1" indent="-171450">
              <a:lnSpc>
                <a:spcPts val="2300"/>
              </a:lnSpc>
              <a:spcBef>
                <a:spcPts val="500"/>
              </a:spcBef>
              <a:buFont typeface="Arial" panose="020B0604020202020204" pitchFamily="34" charset="0"/>
              <a:buChar char="•"/>
            </a:pPr>
            <a:endParaRPr lang="en-US" dirty="0"/>
          </a:p>
          <a:p>
            <a:pPr>
              <a:lnSpc>
                <a:spcPts val="2300"/>
              </a:lnSpc>
              <a:spcBef>
                <a:spcPts val="500"/>
              </a:spcBef>
            </a:pPr>
            <a:r>
              <a:rPr lang="en-US" b="1" kern="0" dirty="0">
                <a:solidFill>
                  <a:srgbClr val="000000"/>
                </a:solidFill>
                <a:latin typeface="Bosch Office Sans" pitchFamily="34" charset="0"/>
              </a:rPr>
              <a:t>3. Off-Line Math Formula </a:t>
            </a:r>
            <a:r>
              <a:rPr lang="en-US" b="1" kern="0" dirty="0" smtClean="0">
                <a:solidFill>
                  <a:srgbClr val="000000"/>
                </a:solidFill>
                <a:latin typeface="Bosch Office Sans" pitchFamily="34" charset="0"/>
              </a:rPr>
              <a:t>Recognition</a:t>
            </a:r>
          </a:p>
          <a:p>
            <a:pPr marL="628650" lvl="1" indent="-171450">
              <a:lnSpc>
                <a:spcPts val="2300"/>
              </a:lnSpc>
              <a:spcBef>
                <a:spcPts val="500"/>
              </a:spcBef>
              <a:buFont typeface="Arial" panose="020B0604020202020204" pitchFamily="34" charset="0"/>
              <a:buChar char="•"/>
            </a:pPr>
            <a:r>
              <a:rPr lang="en-US" dirty="0"/>
              <a:t>Based on Multi-Scale Attention with Dense Encoder for Handwritten Mathematical Expression Recognition uses attention based encoder-decoder.</a:t>
            </a:r>
          </a:p>
          <a:p>
            <a:pPr>
              <a:lnSpc>
                <a:spcPts val="2300"/>
              </a:lnSpc>
              <a:spcBef>
                <a:spcPts val="500"/>
              </a:spcBef>
            </a:pPr>
            <a:endParaRPr lang="en-US" b="1" kern="0" dirty="0" smtClean="0">
              <a:solidFill>
                <a:srgbClr val="000000"/>
              </a:solidFill>
              <a:latin typeface="Bosch Office Sans" pitchFamily="34" charset="0"/>
            </a:endParaRPr>
          </a:p>
          <a:p>
            <a:pPr>
              <a:lnSpc>
                <a:spcPts val="2300"/>
              </a:lnSpc>
              <a:spcBef>
                <a:spcPts val="500"/>
              </a:spcBef>
            </a:pPr>
            <a:endParaRPr lang="en-US" kern="0" dirty="0">
              <a:solidFill>
                <a:srgbClr val="000000"/>
              </a:solidFill>
            </a:endParaRPr>
          </a:p>
          <a:p>
            <a:pPr>
              <a:lnSpc>
                <a:spcPts val="2300"/>
              </a:lnSpc>
              <a:spcBef>
                <a:spcPts val="500"/>
              </a:spcBef>
            </a:pPr>
            <a:endParaRPr lang="en-US" b="1" kern="0" dirty="0">
              <a:solidFill>
                <a:srgbClr val="000000"/>
              </a:solidFill>
              <a:latin typeface="Bosch Office Sans" pitchFamily="34" charset="0"/>
            </a:endParaRPr>
          </a:p>
          <a:p>
            <a:pPr fontAlgn="auto">
              <a:lnSpc>
                <a:spcPts val="2300"/>
              </a:lnSpc>
              <a:spcBef>
                <a:spcPts val="500"/>
              </a:spcBef>
              <a:spcAft>
                <a:spcPts val="0"/>
              </a:spcAft>
            </a:pPr>
            <a:endParaRPr lang="en-US" dirty="0"/>
          </a:p>
          <a:p>
            <a:endParaRPr lang="en-US" dirty="0"/>
          </a:p>
        </p:txBody>
      </p:sp>
    </p:spTree>
    <p:custDataLst>
      <p:tags r:id="rId1"/>
    </p:custDataLst>
    <p:extLst>
      <p:ext uri="{BB962C8B-B14F-4D97-AF65-F5344CB8AC3E}">
        <p14:creationId xmlns:p14="http://schemas.microsoft.com/office/powerpoint/2010/main" val="21459604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Visual Computing for Advanced OCR: Workflow</a:t>
            </a:r>
            <a:endParaRPr lang="en-US" sz="3112" dirty="0">
              <a:solidFill>
                <a:srgbClr val="08427E"/>
              </a:solidFill>
            </a:endParaRPr>
          </a:p>
        </p:txBody>
      </p:sp>
      <p:pic>
        <p:nvPicPr>
          <p:cNvPr id="18" name="Grafik 13"/>
          <p:cNvPicPr>
            <a:picLocks/>
          </p:cNvPicPr>
          <p:nvPr>
            <p:custDataLst>
              <p:tags r:id="rId6"/>
            </p:custDataLst>
          </p:nvPr>
        </p:nvPicPr>
        <p:blipFill>
          <a:blip r:embed="rId9"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grpSp>
        <p:nvGrpSpPr>
          <p:cNvPr id="3" name="Group 2"/>
          <p:cNvGrpSpPr/>
          <p:nvPr/>
        </p:nvGrpSpPr>
        <p:grpSpPr>
          <a:xfrm>
            <a:off x="425725" y="4306737"/>
            <a:ext cx="10708609" cy="2332601"/>
            <a:chOff x="266700" y="3491729"/>
            <a:chExt cx="9463226" cy="1589102"/>
          </a:xfrm>
        </p:grpSpPr>
        <p:sp>
          <p:nvSpPr>
            <p:cNvPr id="21" name="TextBox 20"/>
            <p:cNvSpPr txBox="1"/>
            <p:nvPr/>
          </p:nvSpPr>
          <p:spPr>
            <a:xfrm>
              <a:off x="266700" y="3491729"/>
              <a:ext cx="9463226" cy="1589102"/>
            </a:xfrm>
            <a:prstGeom prst="rect">
              <a:avLst/>
            </a:prstGeom>
            <a:noFill/>
          </p:spPr>
          <p:txBody>
            <a:bodyPr wrap="square" lIns="0" tIns="0" rIns="0" bIns="0" rtlCol="0">
              <a:noAutofit/>
            </a:bodyPr>
            <a:lstStyle/>
            <a:p>
              <a:pPr marL="400050" indent="-400050" fontAlgn="base">
                <a:lnSpc>
                  <a:spcPct val="114000"/>
                </a:lnSpc>
                <a:spcBef>
                  <a:spcPct val="0"/>
                </a:spcBef>
                <a:spcAft>
                  <a:spcPct val="0"/>
                </a:spcAft>
                <a:buFont typeface="+mj-lt"/>
                <a:buAutoNum type="romanLcPeriod"/>
              </a:pPr>
              <a:r>
                <a:rPr lang="en-US" sz="2000" dirty="0">
                  <a:solidFill>
                    <a:srgbClr val="000000"/>
                  </a:solidFill>
                  <a:latin typeface="Bosch Office Sans" pitchFamily="34" charset="0"/>
                </a:rPr>
                <a:t>Workspace Detection using valid markers in the sheet</a:t>
              </a:r>
            </a:p>
            <a:p>
              <a:pPr marL="400050" indent="-400050" fontAlgn="base">
                <a:lnSpc>
                  <a:spcPct val="114000"/>
                </a:lnSpc>
                <a:spcBef>
                  <a:spcPct val="0"/>
                </a:spcBef>
                <a:spcAft>
                  <a:spcPct val="0"/>
                </a:spcAft>
                <a:buFont typeface="+mj-lt"/>
                <a:buAutoNum type="romanLcPeriod"/>
              </a:pPr>
              <a:r>
                <a:rPr lang="en-US" sz="2000" dirty="0">
                  <a:solidFill>
                    <a:srgbClr val="000000"/>
                  </a:solidFill>
                  <a:latin typeface="Bosch Office Sans" pitchFamily="34" charset="0"/>
                </a:rPr>
                <a:t>Detecting and localizing each single lines</a:t>
              </a:r>
            </a:p>
            <a:p>
              <a:pPr marL="400050" indent="-400050" fontAlgn="base">
                <a:lnSpc>
                  <a:spcPct val="114000"/>
                </a:lnSpc>
                <a:spcBef>
                  <a:spcPct val="0"/>
                </a:spcBef>
                <a:spcAft>
                  <a:spcPct val="0"/>
                </a:spcAft>
                <a:buFont typeface="+mj-lt"/>
                <a:buAutoNum type="romanLcPeriod"/>
              </a:pPr>
              <a:r>
                <a:rPr lang="en-US" sz="2000" dirty="0">
                  <a:solidFill>
                    <a:srgbClr val="000000"/>
                  </a:solidFill>
                  <a:latin typeface="Bosch Office Sans" pitchFamily="34" charset="0"/>
                </a:rPr>
                <a:t>Perform Optical Character Recognition in each detected line</a:t>
              </a:r>
            </a:p>
            <a:p>
              <a:pPr marL="400050" indent="-400050" fontAlgn="base">
                <a:lnSpc>
                  <a:spcPct val="114000"/>
                </a:lnSpc>
                <a:spcBef>
                  <a:spcPct val="0"/>
                </a:spcBef>
                <a:spcAft>
                  <a:spcPct val="0"/>
                </a:spcAft>
                <a:buFont typeface="+mj-lt"/>
                <a:buAutoNum type="romanLcPeriod"/>
              </a:pPr>
              <a:r>
                <a:rPr lang="en-US" sz="2000" dirty="0">
                  <a:solidFill>
                    <a:srgbClr val="000000"/>
                  </a:solidFill>
                  <a:latin typeface="Bosch Office Sans" pitchFamily="34" charset="0"/>
                </a:rPr>
                <a:t>Evaluating each line and Providing feedback in terms of red/green bounding box drawn across it where green represents correct and red represents wrong</a:t>
              </a:r>
              <a:endParaRPr lang="en-US" sz="2000" kern="0" dirty="0" smtClean="0">
                <a:solidFill>
                  <a:srgbClr val="000000"/>
                </a:solidFill>
                <a:latin typeface="Bosch Office Sans" pitchFamily="34" charset="0"/>
              </a:endParaRPr>
            </a:p>
          </p:txBody>
        </p:sp>
        <p:sp>
          <p:nvSpPr>
            <p:cNvPr id="22" name="Rectangle 21"/>
            <p:cNvSpPr/>
            <p:nvPr/>
          </p:nvSpPr>
          <p:spPr>
            <a:xfrm>
              <a:off x="591163" y="3743820"/>
              <a:ext cx="6165406" cy="463960"/>
            </a:xfrm>
            <a:prstGeom prst="rect">
              <a:avLst/>
            </a:prstGeom>
            <a:noFill/>
            <a:ln w="9525" cap="flat" cmpd="sng" algn="ctr">
              <a:solidFill>
                <a:srgbClr val="3F136C"/>
              </a:solidFill>
              <a:prstDash val="solid"/>
            </a:ln>
            <a:effectLst/>
          </p:spPr>
          <p:txBody>
            <a:bodyPr rtlCol="0" anchor="ctr"/>
            <a:lstStyle/>
            <a:p>
              <a:pPr algn="ctr"/>
              <a:endParaRPr lang="en-US" sz="2000" kern="0" dirty="0" smtClean="0">
                <a:solidFill>
                  <a:srgbClr val="000000"/>
                </a:solidFill>
                <a:latin typeface="Bosch Office Sans"/>
              </a:endParaRPr>
            </a:p>
          </p:txBody>
        </p:sp>
        <p:sp>
          <p:nvSpPr>
            <p:cNvPr id="24" name="Right Brace 23"/>
            <p:cNvSpPr/>
            <p:nvPr/>
          </p:nvSpPr>
          <p:spPr>
            <a:xfrm>
              <a:off x="6755123" y="3715831"/>
              <a:ext cx="275208" cy="522148"/>
            </a:xfrm>
            <a:prstGeom prst="rightBrace">
              <a:avLst>
                <a:gd name="adj1" fmla="val 27688"/>
                <a:gd name="adj2" fmla="val 50000"/>
              </a:avLst>
            </a:prstGeom>
            <a:noFill/>
            <a:ln w="6350" cap="flat" cmpd="sng" algn="ctr">
              <a:solidFill>
                <a:srgbClr val="A80163"/>
              </a:solid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smtClean="0">
                <a:ln>
                  <a:noFill/>
                </a:ln>
                <a:solidFill>
                  <a:srgbClr val="000000"/>
                </a:solidFill>
                <a:effectLst/>
                <a:uLnTx/>
                <a:uFillTx/>
                <a:latin typeface="Bosch Office Sans"/>
                <a:ea typeface="+mn-ea"/>
                <a:cs typeface="+mn-cs"/>
              </a:endParaRPr>
            </a:p>
          </p:txBody>
        </p:sp>
        <p:sp>
          <p:nvSpPr>
            <p:cNvPr id="25" name="TextBox 24"/>
            <p:cNvSpPr txBox="1"/>
            <p:nvPr/>
          </p:nvSpPr>
          <p:spPr>
            <a:xfrm>
              <a:off x="7827389" y="3916407"/>
              <a:ext cx="1167649" cy="643144"/>
            </a:xfrm>
            <a:prstGeom prst="rect">
              <a:avLst/>
            </a:prstGeom>
            <a:noFill/>
          </p:spPr>
          <p:txBody>
            <a:bodyPr wrap="none" lIns="0" tIns="0" rIns="0" bIns="0" rtlCol="0">
              <a:noAutofit/>
            </a:bodyPr>
            <a:lstStyle/>
            <a:p>
              <a:pPr algn="ctr">
                <a:lnSpc>
                  <a:spcPts val="2300"/>
                </a:lnSpc>
                <a:spcBef>
                  <a:spcPts val="500"/>
                </a:spcBef>
              </a:pPr>
              <a:r>
                <a:rPr lang="en-US" sz="900" b="1" kern="0" dirty="0" smtClean="0">
                  <a:solidFill>
                    <a:srgbClr val="000000"/>
                  </a:solidFill>
                  <a:latin typeface="Bosch Office Sans" pitchFamily="34" charset="0"/>
                </a:rPr>
                <a:t>Can be merged in a single step based on requirement</a:t>
              </a:r>
            </a:p>
          </p:txBody>
        </p:sp>
      </p:grpSp>
      <p:grpSp>
        <p:nvGrpSpPr>
          <p:cNvPr id="26" name="Group 25"/>
          <p:cNvGrpSpPr/>
          <p:nvPr/>
        </p:nvGrpSpPr>
        <p:grpSpPr>
          <a:xfrm>
            <a:off x="2514600" y="1223958"/>
            <a:ext cx="7194274" cy="2420834"/>
            <a:chOff x="266700" y="1024950"/>
            <a:chExt cx="5943600" cy="1918970"/>
          </a:xfrm>
        </p:grpSpPr>
        <p:pic>
          <p:nvPicPr>
            <p:cNvPr id="27" name="Picture 26"/>
            <p:cNvPicPr/>
            <p:nvPr/>
          </p:nvPicPr>
          <p:blipFill>
            <a:blip r:embed="rId11">
              <a:extLst>
                <a:ext uri="{28A0092B-C50C-407E-A947-70E740481C1C}">
                  <a14:useLocalDpi xmlns:a14="http://schemas.microsoft.com/office/drawing/2010/main" val="0"/>
                </a:ext>
              </a:extLst>
            </a:blip>
            <a:stretch>
              <a:fillRect/>
            </a:stretch>
          </p:blipFill>
          <p:spPr>
            <a:xfrm>
              <a:off x="266700" y="1024950"/>
              <a:ext cx="5943600" cy="1918970"/>
            </a:xfrm>
            <a:prstGeom prst="rect">
              <a:avLst/>
            </a:prstGeom>
          </p:spPr>
        </p:pic>
        <p:sp>
          <p:nvSpPr>
            <p:cNvPr id="28" name="Rectangle 27"/>
            <p:cNvSpPr/>
            <p:nvPr/>
          </p:nvSpPr>
          <p:spPr>
            <a:xfrm>
              <a:off x="1753474" y="1413749"/>
              <a:ext cx="2658727" cy="752401"/>
            </a:xfrm>
            <a:prstGeom prst="rect">
              <a:avLst/>
            </a:prstGeom>
            <a:noFill/>
            <a:ln w="9525" cap="flat" cmpd="sng" algn="ctr">
              <a:solidFill>
                <a:srgbClr val="3F136C">
                  <a:lumMod val="60000"/>
                  <a:lumOff val="40000"/>
                </a:srgbClr>
              </a:solidFill>
              <a:prstDash val="lg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ndParaRPr>
            </a:p>
          </p:txBody>
        </p:sp>
      </p:grpSp>
    </p:spTree>
    <p:custDataLst>
      <p:tags r:id="rId1"/>
    </p:custDataLst>
    <p:extLst>
      <p:ext uri="{BB962C8B-B14F-4D97-AF65-F5344CB8AC3E}">
        <p14:creationId xmlns:p14="http://schemas.microsoft.com/office/powerpoint/2010/main" val="34115977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Visual Computing for Advanced OCR: Training and Testing</a:t>
            </a:r>
            <a:endParaRPr lang="en-US" sz="3112" dirty="0">
              <a:solidFill>
                <a:srgbClr val="08427E"/>
              </a:solidFill>
            </a:endParaRPr>
          </a:p>
        </p:txBody>
      </p:sp>
      <p:pic>
        <p:nvPicPr>
          <p:cNvPr id="18" name="Grafik 13"/>
          <p:cNvPicPr>
            <a:picLocks/>
          </p:cNvPicPr>
          <p:nvPr>
            <p:custDataLst>
              <p:tags r:id="rId6"/>
            </p:custDataLst>
          </p:nvPr>
        </p:nvPicPr>
        <p:blipFill>
          <a:blip r:embed="rId9"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6" name="Rectangle 15"/>
          <p:cNvSpPr/>
          <p:nvPr/>
        </p:nvSpPr>
        <p:spPr>
          <a:xfrm>
            <a:off x="607070" y="1715276"/>
            <a:ext cx="9515115" cy="3755644"/>
          </a:xfrm>
          <a:prstGeom prst="rect">
            <a:avLst/>
          </a:prstGeom>
        </p:spPr>
        <p:txBody>
          <a:bodyPr wrap="square">
            <a:spAutoFit/>
          </a:bodyPr>
          <a:lstStyle/>
          <a:p>
            <a:pPr marL="0" marR="0">
              <a:lnSpc>
                <a:spcPct val="107000"/>
              </a:lnSpc>
              <a:spcBef>
                <a:spcPts val="200"/>
              </a:spcBef>
              <a:spcAft>
                <a:spcPts val="0"/>
              </a:spcAft>
            </a:pPr>
            <a:r>
              <a:rPr lang="en-US" sz="2800" b="1" dirty="0" smtClean="0">
                <a:solidFill>
                  <a:srgbClr val="2E74B5"/>
                </a:solidFill>
                <a:latin typeface="Calibri Light" panose="020F0302020204030204" pitchFamily="34" charset="0"/>
                <a:ea typeface="Times New Roman" panose="02020603050405020304" pitchFamily="18" charset="0"/>
                <a:cs typeface="Times New Roman" panose="02020603050405020304" pitchFamily="18" charset="0"/>
              </a:rPr>
              <a:t>1. Data </a:t>
            </a:r>
            <a:r>
              <a:rPr lang="en-US" sz="2800" b="1" dirty="0">
                <a:solidFill>
                  <a:srgbClr val="2E74B5"/>
                </a:solidFill>
                <a:latin typeface="Calibri Light" panose="020F0302020204030204" pitchFamily="34" charset="0"/>
                <a:ea typeface="Times New Roman" panose="02020603050405020304" pitchFamily="18" charset="0"/>
                <a:cs typeface="Times New Roman" panose="02020603050405020304" pitchFamily="18" charset="0"/>
              </a:rPr>
              <a:t>Generation</a:t>
            </a: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Data Generation will take place in the following two phases :-</a:t>
            </a:r>
          </a:p>
          <a:p>
            <a:pPr marL="342900" marR="0" lvl="0" indent="-342900">
              <a:lnSpc>
                <a:spcPct val="107000"/>
              </a:lnSpc>
              <a:spcBef>
                <a:spcPts val="0"/>
              </a:spcBef>
              <a:spcAft>
                <a:spcPts val="0"/>
              </a:spcAft>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lectronic data generation using publicly available digits and symbols datasets</a:t>
            </a:r>
          </a:p>
          <a:p>
            <a:pPr marL="342900" marR="0" lvl="0" indent="-342900">
              <a:lnSpc>
                <a:spcPct val="107000"/>
              </a:lnSpc>
              <a:spcBef>
                <a:spcPts val="0"/>
              </a:spcBef>
              <a:spcAft>
                <a:spcPts val="800"/>
              </a:spcAft>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Manually data generation by writing by Bosch </a:t>
            </a:r>
            <a:r>
              <a:rPr lang="en-US" sz="2000" dirty="0" smtClean="0">
                <a:latin typeface="Calibri" panose="020F0502020204030204" pitchFamily="34" charset="0"/>
                <a:ea typeface="Calibri" panose="020F0502020204030204" pitchFamily="34" charset="0"/>
                <a:cs typeface="Times New Roman" panose="02020603050405020304" pitchFamily="18" charset="0"/>
              </a:rPr>
              <a:t>employees</a:t>
            </a:r>
          </a:p>
          <a:p>
            <a:pPr marR="0" lvl="0">
              <a:lnSpc>
                <a:spcPct val="107000"/>
              </a:lnSpc>
              <a:spcBef>
                <a:spcPts val="0"/>
              </a:spcBef>
              <a:spcAft>
                <a:spcPts val="80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200"/>
              </a:spcBef>
              <a:spcAft>
                <a:spcPts val="0"/>
              </a:spcAft>
            </a:pPr>
            <a:r>
              <a:rPr lang="en-US" sz="2800" b="1" dirty="0" smtClean="0">
                <a:solidFill>
                  <a:srgbClr val="2E74B5"/>
                </a:solidFill>
                <a:latin typeface="Calibri Light" panose="020F0302020204030204" pitchFamily="34" charset="0"/>
                <a:ea typeface="Times New Roman" panose="02020603050405020304" pitchFamily="18" charset="0"/>
                <a:cs typeface="Times New Roman" panose="02020603050405020304" pitchFamily="18" charset="0"/>
              </a:rPr>
              <a:t>2. Training</a:t>
            </a:r>
            <a:r>
              <a:rPr lang="en-US" sz="2800" b="1" dirty="0">
                <a:solidFill>
                  <a:srgbClr val="2E74B5"/>
                </a:solidFill>
                <a:latin typeface="Calibri Light" panose="020F0302020204030204" pitchFamily="34" charset="0"/>
                <a:ea typeface="Times New Roman" panose="02020603050405020304" pitchFamily="18" charset="0"/>
                <a:cs typeface="Times New Roman" panose="02020603050405020304" pitchFamily="18" charset="0"/>
              </a:rPr>
              <a:t>, testing, and Quality</a:t>
            </a:r>
          </a:p>
          <a:p>
            <a:pPr marL="285750" marR="0" indent="-285750">
              <a:lnSpc>
                <a:spcPct val="107000"/>
              </a:lnSpc>
              <a:spcBef>
                <a:spcPts val="0"/>
              </a:spcBef>
              <a:spcAft>
                <a:spcPts val="800"/>
              </a:spcAft>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From the complete dataset, 75% data will be used for training, 5% for validation, </a:t>
            </a:r>
            <a:br>
              <a:rPr lang="en-US" sz="2000" dirty="0">
                <a:latin typeface="Calibri" panose="020F0502020204030204" pitchFamily="34" charset="0"/>
                <a:ea typeface="Calibri" panose="020F0502020204030204" pitchFamily="34" charset="0"/>
                <a:cs typeface="Times New Roman" panose="02020603050405020304" pitchFamily="18" charset="0"/>
              </a:rPr>
            </a:br>
            <a:r>
              <a:rPr lang="en-US" sz="2000" dirty="0" smtClean="0">
                <a:latin typeface="Calibri" panose="020F0502020204030204" pitchFamily="34" charset="0"/>
                <a:ea typeface="Calibri" panose="020F0502020204030204" pitchFamily="34" charset="0"/>
                <a:cs typeface="Times New Roman" panose="02020603050405020304" pitchFamily="18" charset="0"/>
              </a:rPr>
              <a:t>and </a:t>
            </a:r>
            <a:r>
              <a:rPr lang="en-US" sz="2000" dirty="0">
                <a:latin typeface="Calibri" panose="020F0502020204030204" pitchFamily="34" charset="0"/>
                <a:ea typeface="Calibri" panose="020F0502020204030204" pitchFamily="34" charset="0"/>
                <a:cs typeface="Times New Roman" panose="02020603050405020304" pitchFamily="18" charset="0"/>
              </a:rPr>
              <a:t>20% for </a:t>
            </a:r>
            <a:r>
              <a:rPr lang="en-US" sz="2000" dirty="0" smtClean="0">
                <a:latin typeface="Calibri" panose="020F0502020204030204" pitchFamily="34" charset="0"/>
                <a:ea typeface="Calibri" panose="020F0502020204030204" pitchFamily="34" charset="0"/>
                <a:cs typeface="Times New Roman" panose="02020603050405020304" pitchFamily="18" charset="0"/>
              </a:rPr>
              <a:t>testing.</a:t>
            </a:r>
          </a:p>
          <a:p>
            <a:pPr marL="285750" marR="0" indent="-285750">
              <a:lnSpc>
                <a:spcPct val="107000"/>
              </a:lnSpc>
              <a:spcBef>
                <a:spcPts val="0"/>
              </a:spcBef>
              <a:spcAft>
                <a:spcPts val="800"/>
              </a:spcAft>
              <a:buFont typeface="Arial" panose="020B0604020202020204" pitchFamily="34" charset="0"/>
              <a:buChar char="•"/>
            </a:pPr>
            <a:r>
              <a:rPr lang="en-US" sz="2000" dirty="0" smtClean="0">
                <a:latin typeface="Calibri" panose="020F0502020204030204" pitchFamily="34" charset="0"/>
                <a:ea typeface="Calibri" panose="020F0502020204030204" pitchFamily="34" charset="0"/>
                <a:cs typeface="Times New Roman" panose="02020603050405020304" pitchFamily="18" charset="0"/>
              </a:rPr>
              <a:t>Confusion </a:t>
            </a:r>
            <a:r>
              <a:rPr lang="en-US" sz="2000" dirty="0">
                <a:latin typeface="Calibri" panose="020F0502020204030204" pitchFamily="34" charset="0"/>
                <a:ea typeface="Calibri" panose="020F0502020204030204" pitchFamily="34" charset="0"/>
                <a:cs typeface="Times New Roman" panose="02020603050405020304" pitchFamily="18" charset="0"/>
              </a:rPr>
              <a:t>matrix will be used for quality estimation</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7" name="Picture 2" descr="Image result for data generation"/>
          <p:cNvPicPr>
            <a:picLocks noChangeAspect="1" noChangeArrowheads="1"/>
          </p:cNvPicPr>
          <p:nvPr/>
        </p:nvPicPr>
        <p:blipFill rotWithShape="1">
          <a:blip r:embed="rId11">
            <a:extLst>
              <a:ext uri="{28A0092B-C50C-407E-A947-70E740481C1C}">
                <a14:useLocalDpi xmlns:a14="http://schemas.microsoft.com/office/drawing/2010/main" val="0"/>
              </a:ext>
            </a:extLst>
          </a:blip>
          <a:srcRect l="37504" r="37778"/>
          <a:stretch/>
        </p:blipFill>
        <p:spPr bwMode="auto">
          <a:xfrm>
            <a:off x="9893380" y="2232073"/>
            <a:ext cx="827910" cy="76907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Image result for machine learning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38687" y="4081455"/>
            <a:ext cx="1137296" cy="113729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6178078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Team at a Glance</a:t>
            </a:r>
            <a:endParaRPr lang="en-US" sz="3112" dirty="0">
              <a:solidFill>
                <a:srgbClr val="08427E"/>
              </a:solidFill>
            </a:endParaRPr>
          </a:p>
        </p:txBody>
      </p:sp>
      <p:sp>
        <p:nvSpPr>
          <p:cNvPr id="10" name="Rectangle 9"/>
          <p:cNvSpPr/>
          <p:nvPr>
            <p:custDataLst>
              <p:tags r:id="rId6"/>
            </p:custDataLst>
          </p:nvPr>
        </p:nvSpPr>
        <p:spPr>
          <a:xfrm>
            <a:off x="282492" y="1566147"/>
            <a:ext cx="11602317" cy="4520877"/>
          </a:xfrm>
          <a:prstGeom prst="rect">
            <a:avLst/>
          </a:prstGeom>
          <a:solidFill>
            <a:srgbClr val="B2B3B5">
              <a:alpha val="25000"/>
            </a:srgbClr>
          </a:solidFill>
          <a:ln w="9525" cap="flat" cmpd="sng" algn="ctr">
            <a:noFill/>
            <a:prstDash val="solid"/>
          </a:ln>
          <a:effectLst/>
        </p:spPr>
        <p:txBody>
          <a:bodyPr rtlCol="0" anchor="ctr"/>
          <a:lstStyle/>
          <a:p>
            <a:pPr algn="ctr" defTabSz="1016264"/>
            <a:endParaRPr lang="en-US" sz="2001" kern="0" dirty="0">
              <a:solidFill>
                <a:srgbClr val="000000"/>
              </a:solidFill>
              <a:latin typeface="Bosch Office Sans"/>
            </a:endParaRPr>
          </a:p>
        </p:txBody>
      </p:sp>
      <p:sp>
        <p:nvSpPr>
          <p:cNvPr id="11" name="Rectangle 10"/>
          <p:cNvSpPr/>
          <p:nvPr>
            <p:custDataLst>
              <p:tags r:id="rId7"/>
            </p:custDataLst>
          </p:nvPr>
        </p:nvSpPr>
        <p:spPr>
          <a:xfrm>
            <a:off x="296606" y="1632632"/>
            <a:ext cx="11602317" cy="1007626"/>
          </a:xfrm>
          <a:prstGeom prst="rect">
            <a:avLst/>
          </a:prstGeom>
          <a:solidFill>
            <a:srgbClr val="08427E"/>
          </a:solidFill>
          <a:ln w="9525" cap="flat" cmpd="sng" algn="ctr">
            <a:noFill/>
            <a:prstDash val="solid"/>
          </a:ln>
          <a:effectLst/>
        </p:spPr>
        <p:txBody>
          <a:bodyPr rtlCol="0" anchor="ctr"/>
          <a:lstStyle/>
          <a:p>
            <a:pPr algn="ctr" defTabSz="1016264"/>
            <a:endParaRPr lang="en-US" sz="2001" kern="0" dirty="0">
              <a:solidFill>
                <a:srgbClr val="000000"/>
              </a:solidFill>
              <a:latin typeface="Bosch Office Sans"/>
            </a:endParaRPr>
          </a:p>
        </p:txBody>
      </p:sp>
      <p:sp>
        <p:nvSpPr>
          <p:cNvPr id="12" name="Oval 11"/>
          <p:cNvSpPr/>
          <p:nvPr>
            <p:custDataLst>
              <p:tags r:id="rId8"/>
            </p:custDataLst>
          </p:nvPr>
        </p:nvSpPr>
        <p:spPr>
          <a:xfrm>
            <a:off x="3590759" y="1497593"/>
            <a:ext cx="4905680" cy="4761404"/>
          </a:xfrm>
          <a:prstGeom prst="ellipse">
            <a:avLst/>
          </a:prstGeom>
          <a:solidFill>
            <a:schemeClr val="bg1"/>
          </a:solidFill>
          <a:ln w="9525" cap="flat" cmpd="sng" algn="ctr">
            <a:noFill/>
            <a:prstDash val="solid"/>
          </a:ln>
          <a:effectLst/>
        </p:spPr>
        <p:txBody>
          <a:bodyPr rtlCol="0" anchor="ctr"/>
          <a:lstStyle/>
          <a:p>
            <a:pPr algn="ctr" defTabSz="1016264"/>
            <a:endParaRPr lang="en-US" sz="2001" kern="0" dirty="0">
              <a:solidFill>
                <a:srgbClr val="000000"/>
              </a:solidFill>
              <a:latin typeface="Bosch Office Sans"/>
            </a:endParaRPr>
          </a:p>
        </p:txBody>
      </p:sp>
      <p:sp>
        <p:nvSpPr>
          <p:cNvPr id="13" name="Rectangle 12"/>
          <p:cNvSpPr/>
          <p:nvPr>
            <p:custDataLst>
              <p:tags r:id="rId9"/>
            </p:custDataLst>
          </p:nvPr>
        </p:nvSpPr>
        <p:spPr>
          <a:xfrm>
            <a:off x="522458" y="1922658"/>
            <a:ext cx="2326406" cy="423193"/>
          </a:xfrm>
          <a:prstGeom prst="rect">
            <a:avLst/>
          </a:prstGeom>
        </p:spPr>
        <p:txBody>
          <a:bodyPr wrap="none" lIns="0" tIns="0" rIns="0" bIns="0">
            <a:spAutoFit/>
          </a:bodyPr>
          <a:lstStyle/>
          <a:p>
            <a:pPr>
              <a:lnSpc>
                <a:spcPts val="3334"/>
              </a:lnSpc>
              <a:buClr>
                <a:srgbClr val="002060"/>
              </a:buClr>
            </a:pPr>
            <a:r>
              <a:rPr lang="en-US" sz="3112" b="1" dirty="0">
                <a:solidFill>
                  <a:schemeClr val="bg1"/>
                </a:solidFill>
              </a:rPr>
              <a:t>Who We Are</a:t>
            </a:r>
          </a:p>
        </p:txBody>
      </p:sp>
      <p:sp>
        <p:nvSpPr>
          <p:cNvPr id="14" name="Rectangle 13"/>
          <p:cNvSpPr/>
          <p:nvPr>
            <p:custDataLst>
              <p:tags r:id="rId10"/>
            </p:custDataLst>
          </p:nvPr>
        </p:nvSpPr>
        <p:spPr>
          <a:xfrm>
            <a:off x="8620079" y="1922658"/>
            <a:ext cx="2318776" cy="423193"/>
          </a:xfrm>
          <a:prstGeom prst="rect">
            <a:avLst/>
          </a:prstGeom>
        </p:spPr>
        <p:txBody>
          <a:bodyPr wrap="none" lIns="0" tIns="0" rIns="0" bIns="0">
            <a:spAutoFit/>
          </a:bodyPr>
          <a:lstStyle/>
          <a:p>
            <a:pPr>
              <a:lnSpc>
                <a:spcPts val="3334"/>
              </a:lnSpc>
              <a:buClr>
                <a:srgbClr val="002060"/>
              </a:buClr>
            </a:pPr>
            <a:r>
              <a:rPr lang="en-US" sz="3112" b="1" dirty="0">
                <a:solidFill>
                  <a:schemeClr val="bg1"/>
                </a:solidFill>
              </a:rPr>
              <a:t>What We Do</a:t>
            </a:r>
          </a:p>
        </p:txBody>
      </p:sp>
      <p:sp>
        <p:nvSpPr>
          <p:cNvPr id="15" name="Rectangle 14"/>
          <p:cNvSpPr/>
          <p:nvPr>
            <p:custDataLst>
              <p:tags r:id="rId11"/>
            </p:custDataLst>
          </p:nvPr>
        </p:nvSpPr>
        <p:spPr>
          <a:xfrm>
            <a:off x="525473" y="2944357"/>
            <a:ext cx="2987157" cy="2854115"/>
          </a:xfrm>
          <a:prstGeom prst="rect">
            <a:avLst/>
          </a:prstGeom>
        </p:spPr>
        <p:txBody>
          <a:bodyPr wrap="square" lIns="0" tIns="0" rIns="0" bIns="0">
            <a:spAutoFit/>
          </a:bodyPr>
          <a:lstStyle/>
          <a:p>
            <a:pPr marL="315042" indent="-315042">
              <a:lnSpc>
                <a:spcPct val="114000"/>
              </a:lnSpc>
              <a:spcBef>
                <a:spcPts val="667"/>
              </a:spcBef>
              <a:spcAft>
                <a:spcPts val="667"/>
              </a:spcAft>
              <a:buClr>
                <a:srgbClr val="002060"/>
              </a:buClr>
              <a:buFont typeface="Wingdings 3" panose="05040102010807070707" pitchFamily="18" charset="2"/>
              <a:buChar char=""/>
            </a:pPr>
            <a:r>
              <a:rPr lang="en-US" sz="1778" b="1" dirty="0"/>
              <a:t>Centralized team </a:t>
            </a:r>
            <a:r>
              <a:rPr lang="en-US" sz="1778" dirty="0"/>
              <a:t>of AI and Machine Learning </a:t>
            </a:r>
            <a:r>
              <a:rPr lang="en-US" sz="1778" b="1" dirty="0"/>
              <a:t>experts</a:t>
            </a:r>
          </a:p>
          <a:p>
            <a:pPr marL="315042" indent="-315042">
              <a:lnSpc>
                <a:spcPct val="114000"/>
              </a:lnSpc>
              <a:spcBef>
                <a:spcPts val="667"/>
              </a:spcBef>
              <a:spcAft>
                <a:spcPts val="667"/>
              </a:spcAft>
              <a:buClr>
                <a:srgbClr val="002060"/>
              </a:buClr>
              <a:buFont typeface="Wingdings 3" panose="05040102010807070707" pitchFamily="18" charset="2"/>
              <a:buChar char=""/>
            </a:pPr>
            <a:r>
              <a:rPr lang="en-US" sz="1778" dirty="0"/>
              <a:t>Operational</a:t>
            </a:r>
            <a:r>
              <a:rPr lang="en-US" sz="1778" b="1" dirty="0"/>
              <a:t> since 2012 </a:t>
            </a:r>
          </a:p>
          <a:p>
            <a:pPr marL="315042" indent="-315042">
              <a:lnSpc>
                <a:spcPct val="114000"/>
              </a:lnSpc>
              <a:spcBef>
                <a:spcPts val="667"/>
              </a:spcBef>
              <a:spcAft>
                <a:spcPts val="667"/>
              </a:spcAft>
              <a:buClr>
                <a:srgbClr val="002060"/>
              </a:buClr>
              <a:buFont typeface="Wingdings 3" panose="05040102010807070707" pitchFamily="18" charset="2"/>
              <a:buChar char=""/>
            </a:pPr>
            <a:r>
              <a:rPr lang="en-US" sz="1778" dirty="0"/>
              <a:t>Competencies spanning ML/AI, big data </a:t>
            </a:r>
            <a:r>
              <a:rPr lang="en-US" sz="1778" b="1" dirty="0"/>
              <a:t>engineering</a:t>
            </a:r>
            <a:r>
              <a:rPr lang="en-US" sz="1778" dirty="0"/>
              <a:t> and </a:t>
            </a:r>
            <a:r>
              <a:rPr lang="en-US" sz="1778" b="1" dirty="0"/>
              <a:t>visualization</a:t>
            </a:r>
            <a:r>
              <a:rPr lang="en-US" sz="1778" dirty="0"/>
              <a:t> sciences</a:t>
            </a:r>
            <a:endParaRPr lang="en-US" sz="1778" b="1" dirty="0"/>
          </a:p>
        </p:txBody>
      </p:sp>
      <p:sp>
        <p:nvSpPr>
          <p:cNvPr id="16" name="Rectangle 15"/>
          <p:cNvSpPr/>
          <p:nvPr>
            <p:custDataLst>
              <p:tags r:id="rId12"/>
            </p:custDataLst>
          </p:nvPr>
        </p:nvSpPr>
        <p:spPr>
          <a:xfrm>
            <a:off x="8620080" y="2826922"/>
            <a:ext cx="3184627" cy="3165995"/>
          </a:xfrm>
          <a:prstGeom prst="rect">
            <a:avLst/>
          </a:prstGeom>
        </p:spPr>
        <p:txBody>
          <a:bodyPr wrap="square" lIns="0" tIns="0" rIns="0" bIns="0">
            <a:spAutoFit/>
          </a:bodyPr>
          <a:lstStyle/>
          <a:p>
            <a:pPr>
              <a:lnSpc>
                <a:spcPct val="114000"/>
              </a:lnSpc>
              <a:spcBef>
                <a:spcPts val="667"/>
              </a:spcBef>
              <a:spcAft>
                <a:spcPts val="667"/>
              </a:spcAft>
            </a:pPr>
            <a:r>
              <a:rPr lang="en-US" sz="1778" kern="0" dirty="0"/>
              <a:t>We generate value from data captured using field devices and from sensor applications to: </a:t>
            </a:r>
          </a:p>
          <a:p>
            <a:pPr marL="315042" indent="-315042">
              <a:lnSpc>
                <a:spcPct val="114000"/>
              </a:lnSpc>
              <a:spcBef>
                <a:spcPts val="667"/>
              </a:spcBef>
              <a:spcAft>
                <a:spcPts val="667"/>
              </a:spcAft>
              <a:buFont typeface="Wingdings 3" panose="05040102010807070707" pitchFamily="18" charset="2"/>
              <a:buChar char=""/>
            </a:pPr>
            <a:r>
              <a:rPr lang="en-US" sz="1778" kern="0" dirty="0"/>
              <a:t>Generate value-add and usefulness in commercial services</a:t>
            </a:r>
          </a:p>
          <a:p>
            <a:pPr marL="315042" indent="-315042">
              <a:lnSpc>
                <a:spcPct val="114000"/>
              </a:lnSpc>
              <a:spcBef>
                <a:spcPts val="667"/>
              </a:spcBef>
              <a:spcAft>
                <a:spcPts val="667"/>
              </a:spcAft>
              <a:buFont typeface="Wingdings 3" panose="05040102010807070707" pitchFamily="18" charset="2"/>
              <a:buChar char=""/>
            </a:pPr>
            <a:r>
              <a:rPr lang="en-US" sz="1778" kern="0" dirty="0"/>
              <a:t>Optimize assets, resources, efficiency; &amp; reduce waste</a:t>
            </a:r>
          </a:p>
        </p:txBody>
      </p:sp>
      <p:sp>
        <p:nvSpPr>
          <p:cNvPr id="17" name="Rectangle 16"/>
          <p:cNvSpPr/>
          <p:nvPr>
            <p:custDataLst>
              <p:tags r:id="rId13"/>
            </p:custDataLst>
          </p:nvPr>
        </p:nvSpPr>
        <p:spPr>
          <a:xfrm>
            <a:off x="4642349" y="2371512"/>
            <a:ext cx="3637389" cy="3054682"/>
          </a:xfrm>
          <a:prstGeom prst="rect">
            <a:avLst/>
          </a:prstGeom>
        </p:spPr>
        <p:txBody>
          <a:bodyPr wrap="square">
            <a:spAutoFit/>
          </a:bodyPr>
          <a:lstStyle/>
          <a:p>
            <a:pPr>
              <a:lnSpc>
                <a:spcPts val="3334"/>
              </a:lnSpc>
            </a:pPr>
            <a:r>
              <a:rPr lang="de-DE" sz="3112" b="1" dirty="0">
                <a:gradFill>
                  <a:gsLst>
                    <a:gs pos="100000">
                      <a:srgbClr val="0E78C5"/>
                    </a:gs>
                    <a:gs pos="0">
                      <a:srgbClr val="08427E"/>
                    </a:gs>
                  </a:gsLst>
                  <a:lin ang="0" scaled="0"/>
                </a:gradFill>
              </a:rPr>
              <a:t>High impact business use cases improving topline and bottomline </a:t>
            </a:r>
          </a:p>
          <a:p>
            <a:pPr>
              <a:lnSpc>
                <a:spcPts val="3334"/>
              </a:lnSpc>
            </a:pPr>
            <a:r>
              <a:rPr lang="de-DE" sz="3112" b="1" dirty="0">
                <a:gradFill>
                  <a:gsLst>
                    <a:gs pos="100000">
                      <a:srgbClr val="0E78C5"/>
                    </a:gs>
                    <a:gs pos="0">
                      <a:srgbClr val="08427E"/>
                    </a:gs>
                  </a:gsLst>
                  <a:lin ang="0" scaled="0"/>
                </a:gradFill>
              </a:rPr>
              <a:t>across multiple domains</a:t>
            </a:r>
          </a:p>
        </p:txBody>
      </p:sp>
      <p:pic>
        <p:nvPicPr>
          <p:cNvPr id="18" name="Grafik 13"/>
          <p:cNvPicPr>
            <a:picLocks/>
          </p:cNvPicPr>
          <p:nvPr>
            <p:custDataLst>
              <p:tags r:id="rId14"/>
            </p:custDataLst>
          </p:nvPr>
        </p:nvPicPr>
        <p:blipFill>
          <a:blip r:embed="rId17"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15"/>
            </p:custDataLst>
          </p:nvPr>
        </p:nvPicPr>
        <p:blipFill>
          <a:blip r:embed="rId18">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37458806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custDataLst>
              <p:tags r:id="rId2"/>
            </p:custDataLst>
          </p:nvPr>
        </p:nvSpPr>
        <p:spPr>
          <a:xfrm>
            <a:off x="8966811" y="4482584"/>
            <a:ext cx="2817680" cy="1358096"/>
          </a:xfrm>
          <a:prstGeom prst="rect">
            <a:avLst/>
          </a:prstGeom>
          <a:solidFill>
            <a:srgbClr val="D05126"/>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a:endParaRPr sz="1223" kern="0">
              <a:solidFill>
                <a:srgbClr val="FFFFFF"/>
              </a:solidFill>
              <a:latin typeface="Source Sans Pro"/>
            </a:endParaRPr>
          </a:p>
        </p:txBody>
      </p:sp>
      <p:pic>
        <p:nvPicPr>
          <p:cNvPr id="10" name="Picture 9"/>
          <p:cNvPicPr>
            <a:picLocks/>
          </p:cNvPicPr>
          <p:nvPr>
            <p:custDataLst>
              <p:tags r:id="rId3"/>
            </p:custDataLst>
          </p:nvPr>
        </p:nvPicPr>
        <p:blipFill>
          <a:blip r:embed="rId16"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9" name="Picture 8"/>
          <p:cNvPicPr>
            <a:picLocks/>
          </p:cNvPicPr>
          <p:nvPr>
            <p:custDataLst>
              <p:tags r:id="rId4"/>
            </p:custDataLst>
          </p:nvPr>
        </p:nvPicPr>
        <p:blipFill>
          <a:blip r:embed="rId17">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8" name="TextBox 7"/>
          <p:cNvSpPr txBox="1">
            <a:spLocks/>
          </p:cNvSpPr>
          <p:nvPr>
            <p:custDataLst>
              <p:tags r:id="rId5"/>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a:t>Big Data and Artificial Intelligence</a:t>
            </a:r>
          </a:p>
        </p:txBody>
      </p:sp>
      <p:sp>
        <p:nvSpPr>
          <p:cNvPr id="4" name="Rectangle 3"/>
          <p:cNvSpPr>
            <a:spLocks/>
          </p:cNvSpPr>
          <p:nvPr>
            <p:custDataLst>
              <p:tags r:id="rId6"/>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3" name="TextBox 2" hidden="1"/>
          <p:cNvSpPr txBox="1"/>
          <p:nvPr>
            <p:custDataLst>
              <p:tags r:id="rId7"/>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US" sz="1445" kern="0" dirty="0"/>
          </a:p>
        </p:txBody>
      </p:sp>
      <p:sp>
        <p:nvSpPr>
          <p:cNvPr id="2" name="Title 1"/>
          <p:cNvSpPr>
            <a:spLocks noGrp="1"/>
          </p:cNvSpPr>
          <p:nvPr>
            <p:ph type="title"/>
            <p:custDataLst>
              <p:tags r:id="rId8"/>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Computer Vision Portfolio - Landscape of Competencies</a:t>
            </a:r>
          </a:p>
        </p:txBody>
      </p:sp>
      <p:grpSp>
        <p:nvGrpSpPr>
          <p:cNvPr id="20" name="Group 19"/>
          <p:cNvGrpSpPr/>
          <p:nvPr/>
        </p:nvGrpSpPr>
        <p:grpSpPr>
          <a:xfrm>
            <a:off x="374997" y="1395476"/>
            <a:ext cx="2832889" cy="2965427"/>
            <a:chOff x="1474831" y="1695017"/>
            <a:chExt cx="2660692" cy="2668198"/>
          </a:xfrm>
        </p:grpSpPr>
        <p:sp>
          <p:nvSpPr>
            <p:cNvPr id="30" name="Rectangle 29"/>
            <p:cNvSpPr/>
            <p:nvPr/>
          </p:nvSpPr>
          <p:spPr>
            <a:xfrm>
              <a:off x="1474831" y="1700705"/>
              <a:ext cx="2646408" cy="73328"/>
            </a:xfrm>
            <a:prstGeom prst="rect">
              <a:avLst/>
            </a:prstGeom>
            <a:solidFill>
              <a:srgbClr val="1C789F"/>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sp>
          <p:nvSpPr>
            <p:cNvPr id="31" name="TextBox 30"/>
            <p:cNvSpPr txBox="1"/>
            <p:nvPr/>
          </p:nvSpPr>
          <p:spPr>
            <a:xfrm>
              <a:off x="1489115" y="1695017"/>
              <a:ext cx="2646408" cy="2668198"/>
            </a:xfrm>
            <a:prstGeom prst="rect">
              <a:avLst/>
            </a:prstGeom>
            <a:noFill/>
          </p:spPr>
          <p:txBody>
            <a:bodyPr wrap="square" rtlCol="0">
              <a:spAutoFit/>
            </a:bodyPr>
            <a:lstStyle/>
            <a:p>
              <a:pPr marL="317583" indent="-317583" algn="just" defTabSz="1016264">
                <a:lnSpc>
                  <a:spcPct val="200000"/>
                </a:lnSpc>
                <a:buFont typeface="Arial" panose="020B0604020202020204" pitchFamily="34" charset="0"/>
                <a:buChar char="•"/>
                <a:defRPr/>
              </a:pPr>
              <a:r>
                <a:rPr sz="1556" b="1" kern="0" dirty="0">
                  <a:solidFill>
                    <a:srgbClr val="1C789F"/>
                  </a:solidFill>
                  <a:latin typeface="Calibri"/>
                </a:rPr>
                <a:t>Image | Video Processing</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Machine Learning</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Video Analytics</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Deep Learning</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Computer Vision</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Software Engineering</a:t>
              </a:r>
              <a:endParaRPr sz="1556" b="1" kern="0" dirty="0">
                <a:solidFill>
                  <a:srgbClr val="1C789F"/>
                </a:solidFill>
                <a:latin typeface="Calibri"/>
              </a:endParaRPr>
            </a:p>
          </p:txBody>
        </p:sp>
      </p:grpSp>
      <p:grpSp>
        <p:nvGrpSpPr>
          <p:cNvPr id="32" name="Group 31"/>
          <p:cNvGrpSpPr/>
          <p:nvPr/>
        </p:nvGrpSpPr>
        <p:grpSpPr>
          <a:xfrm>
            <a:off x="3234975" y="1401798"/>
            <a:ext cx="2817680" cy="2977806"/>
            <a:chOff x="4772795" y="1700705"/>
            <a:chExt cx="2646408" cy="2679336"/>
          </a:xfrm>
        </p:grpSpPr>
        <p:sp>
          <p:nvSpPr>
            <p:cNvPr id="33" name="Rectangle 32"/>
            <p:cNvSpPr/>
            <p:nvPr/>
          </p:nvSpPr>
          <p:spPr>
            <a:xfrm>
              <a:off x="4772795" y="1700705"/>
              <a:ext cx="2646408" cy="73328"/>
            </a:xfrm>
            <a:prstGeom prst="rect">
              <a:avLst/>
            </a:prstGeom>
            <a:solidFill>
              <a:srgbClr val="619405"/>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sp>
          <p:nvSpPr>
            <p:cNvPr id="34" name="TextBox 33"/>
            <p:cNvSpPr txBox="1"/>
            <p:nvPr/>
          </p:nvSpPr>
          <p:spPr>
            <a:xfrm>
              <a:off x="4772795" y="1711843"/>
              <a:ext cx="2646408" cy="2668198"/>
            </a:xfrm>
            <a:prstGeom prst="rect">
              <a:avLst/>
            </a:prstGeom>
            <a:noFill/>
          </p:spPr>
          <p:txBody>
            <a:bodyPr wrap="square" rtlCol="0">
              <a:spAutoFit/>
            </a:bodyPr>
            <a:lstStyle/>
            <a:p>
              <a:pPr marL="317583" indent="-317583" algn="just" defTabSz="1016264">
                <a:lnSpc>
                  <a:spcPct val="200000"/>
                </a:lnSpc>
                <a:buFont typeface="Arial" panose="020B0604020202020204" pitchFamily="34" charset="0"/>
                <a:buChar char="•"/>
                <a:defRPr/>
              </a:pPr>
              <a:r>
                <a:rPr sz="1556" b="1" kern="0" dirty="0">
                  <a:solidFill>
                    <a:srgbClr val="619405"/>
                  </a:solidFill>
                  <a:latin typeface="Calibri"/>
                </a:rPr>
                <a:t>Automotive</a:t>
              </a:r>
              <a:endParaRPr lang="en-US" sz="1556" b="1" kern="0" dirty="0">
                <a:solidFill>
                  <a:srgbClr val="619405"/>
                </a:solidFill>
                <a:latin typeface="Calibri"/>
              </a:endParaRPr>
            </a:p>
            <a:p>
              <a:pPr marL="317583" indent="-317583" algn="just" defTabSz="1016264">
                <a:lnSpc>
                  <a:spcPct val="200000"/>
                </a:lnSpc>
                <a:buFont typeface="Arial" panose="020B0604020202020204" pitchFamily="34" charset="0"/>
                <a:buChar char="•"/>
                <a:defRPr/>
              </a:pPr>
              <a:r>
                <a:rPr lang="en-US" sz="1556" b="1" kern="0" dirty="0">
                  <a:solidFill>
                    <a:srgbClr val="619405"/>
                  </a:solidFill>
                  <a:latin typeface="Calibri"/>
                </a:rPr>
                <a:t>Surveillance</a:t>
              </a:r>
            </a:p>
            <a:p>
              <a:pPr marL="317583" indent="-317583" algn="just" defTabSz="1016264">
                <a:lnSpc>
                  <a:spcPct val="200000"/>
                </a:lnSpc>
                <a:buFont typeface="Arial" panose="020B0604020202020204" pitchFamily="34" charset="0"/>
                <a:buChar char="•"/>
                <a:defRPr/>
              </a:pPr>
              <a:r>
                <a:rPr lang="en-US" sz="1556" b="1" kern="0" dirty="0">
                  <a:solidFill>
                    <a:srgbClr val="619405"/>
                  </a:solidFill>
                  <a:latin typeface="Calibri"/>
                </a:rPr>
                <a:t>Annotation</a:t>
              </a:r>
            </a:p>
            <a:p>
              <a:pPr marL="317583" indent="-317583" algn="just" defTabSz="1016264">
                <a:lnSpc>
                  <a:spcPct val="200000"/>
                </a:lnSpc>
                <a:buFont typeface="Arial" panose="020B0604020202020204" pitchFamily="34" charset="0"/>
                <a:buChar char="•"/>
                <a:defRPr/>
              </a:pPr>
              <a:r>
                <a:rPr lang="en-US" sz="1556" b="1" kern="0" dirty="0">
                  <a:solidFill>
                    <a:srgbClr val="619405"/>
                  </a:solidFill>
                  <a:latin typeface="Calibri"/>
                </a:rPr>
                <a:t>Industrial Automation</a:t>
              </a:r>
            </a:p>
            <a:p>
              <a:pPr marL="317583" indent="-317583" algn="just" defTabSz="1016264">
                <a:lnSpc>
                  <a:spcPct val="200000"/>
                </a:lnSpc>
                <a:buFont typeface="Arial" panose="020B0604020202020204" pitchFamily="34" charset="0"/>
                <a:buChar char="•"/>
                <a:defRPr/>
              </a:pPr>
              <a:r>
                <a:rPr lang="en-US" sz="1556" b="1" kern="0" dirty="0">
                  <a:solidFill>
                    <a:srgbClr val="619405"/>
                  </a:solidFill>
                  <a:latin typeface="Calibri"/>
                </a:rPr>
                <a:t>Multimedia Applications</a:t>
              </a:r>
            </a:p>
            <a:p>
              <a:pPr marL="317583" indent="-317583" algn="just" defTabSz="1016264">
                <a:lnSpc>
                  <a:spcPct val="200000"/>
                </a:lnSpc>
                <a:buFont typeface="Arial" panose="020B0604020202020204" pitchFamily="34" charset="0"/>
                <a:buChar char="•"/>
                <a:defRPr/>
              </a:pPr>
              <a:endParaRPr sz="1556" b="1" kern="0" dirty="0">
                <a:solidFill>
                  <a:srgbClr val="619405"/>
                </a:solidFill>
                <a:latin typeface="Calibri"/>
              </a:endParaRPr>
            </a:p>
          </p:txBody>
        </p:sp>
      </p:grpSp>
      <p:grpSp>
        <p:nvGrpSpPr>
          <p:cNvPr id="35" name="Group 34"/>
          <p:cNvGrpSpPr/>
          <p:nvPr/>
        </p:nvGrpSpPr>
        <p:grpSpPr>
          <a:xfrm>
            <a:off x="6079745" y="1385819"/>
            <a:ext cx="2832889" cy="2965428"/>
            <a:chOff x="8056476" y="1686328"/>
            <a:chExt cx="2660692" cy="2668198"/>
          </a:xfrm>
        </p:grpSpPr>
        <p:sp>
          <p:nvSpPr>
            <p:cNvPr id="36" name="Rectangle 35"/>
            <p:cNvSpPr/>
            <p:nvPr/>
          </p:nvSpPr>
          <p:spPr>
            <a:xfrm>
              <a:off x="8070760" y="1700705"/>
              <a:ext cx="2646408" cy="73328"/>
            </a:xfrm>
            <a:prstGeom prst="rect">
              <a:avLst/>
            </a:prstGeom>
            <a:solidFill>
              <a:srgbClr val="F79A00"/>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sp>
          <p:nvSpPr>
            <p:cNvPr id="37" name="TextBox 36"/>
            <p:cNvSpPr txBox="1"/>
            <p:nvPr/>
          </p:nvSpPr>
          <p:spPr>
            <a:xfrm>
              <a:off x="8056476" y="1686328"/>
              <a:ext cx="2646408" cy="2668198"/>
            </a:xfrm>
            <a:prstGeom prst="rect">
              <a:avLst/>
            </a:prstGeom>
            <a:noFill/>
          </p:spPr>
          <p:txBody>
            <a:bodyPr wrap="square" rtlCol="0">
              <a:spAutoFit/>
            </a:bodyPr>
            <a:lstStyle/>
            <a:p>
              <a:pPr marL="317583" indent="-317583" algn="just">
                <a:lnSpc>
                  <a:spcPct val="200000"/>
                </a:lnSpc>
                <a:buFont typeface="Arial" panose="020B0604020202020204" pitchFamily="34" charset="0"/>
                <a:buChar char="•"/>
              </a:pPr>
              <a:r>
                <a:rPr lang="en-US" sz="1556" b="1" kern="0" dirty="0">
                  <a:solidFill>
                    <a:srgbClr val="F79A00"/>
                  </a:solidFill>
                  <a:latin typeface="Calibri"/>
                </a:rPr>
                <a:t>Efficient Annotation</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Object Detection</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Object Tracking</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Object Classification</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Scene Understanding</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Semantic Segmentation</a:t>
              </a:r>
            </a:p>
          </p:txBody>
        </p:sp>
      </p:grpSp>
      <p:grpSp>
        <p:nvGrpSpPr>
          <p:cNvPr id="38" name="Group 37"/>
          <p:cNvGrpSpPr/>
          <p:nvPr/>
        </p:nvGrpSpPr>
        <p:grpSpPr>
          <a:xfrm>
            <a:off x="374998" y="4482584"/>
            <a:ext cx="2817679" cy="1358096"/>
            <a:chOff x="1474831" y="3066693"/>
            <a:chExt cx="2646408" cy="1221972"/>
          </a:xfrm>
        </p:grpSpPr>
        <p:sp>
          <p:nvSpPr>
            <p:cNvPr id="39" name="Rectangle 38"/>
            <p:cNvSpPr/>
            <p:nvPr/>
          </p:nvSpPr>
          <p:spPr>
            <a:xfrm>
              <a:off x="1474831" y="3066693"/>
              <a:ext cx="2646408" cy="1221972"/>
            </a:xfrm>
            <a:prstGeom prst="rect">
              <a:avLst/>
            </a:prstGeom>
            <a:solidFill>
              <a:srgbClr val="1C789F">
                <a:alpha val="75000"/>
              </a:srgbClr>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grpSp>
          <p:nvGrpSpPr>
            <p:cNvPr id="40" name="Group 39"/>
            <p:cNvGrpSpPr/>
            <p:nvPr/>
          </p:nvGrpSpPr>
          <p:grpSpPr>
            <a:xfrm>
              <a:off x="1474831" y="3285730"/>
              <a:ext cx="2561646" cy="760167"/>
              <a:chOff x="1037626" y="2017942"/>
              <a:chExt cx="2561646" cy="760167"/>
            </a:xfrm>
          </p:grpSpPr>
          <p:sp>
            <p:nvSpPr>
              <p:cNvPr id="41" name="TextBox 40"/>
              <p:cNvSpPr txBox="1"/>
              <p:nvPr/>
            </p:nvSpPr>
            <p:spPr>
              <a:xfrm>
                <a:off x="1037626" y="2017942"/>
                <a:ext cx="829867" cy="760167"/>
              </a:xfrm>
              <a:prstGeom prst="rect">
                <a:avLst/>
              </a:prstGeom>
              <a:noFill/>
            </p:spPr>
            <p:txBody>
              <a:bodyPr wrap="none" rtlCol="0">
                <a:spAutoFit/>
              </a:bodyPr>
              <a:lstStyle/>
              <a:p>
                <a:pPr defTabSz="1016264">
                  <a:defRPr/>
                </a:pPr>
                <a:r>
                  <a:rPr lang="vi-VN" sz="4890" b="1" kern="0" dirty="0">
                    <a:solidFill>
                      <a:srgbClr val="FFFFFF"/>
                    </a:solidFill>
                    <a:latin typeface="Source Sans Pro"/>
                  </a:rPr>
                  <a:t>01</a:t>
                </a:r>
                <a:endParaRPr sz="4890" b="1" kern="0" dirty="0">
                  <a:solidFill>
                    <a:srgbClr val="FFFFFF"/>
                  </a:solidFill>
                  <a:latin typeface="Source Sans Pro"/>
                </a:endParaRPr>
              </a:p>
            </p:txBody>
          </p:sp>
          <p:cxnSp>
            <p:nvCxnSpPr>
              <p:cNvPr id="42" name="Straight Connector 41"/>
              <p:cNvCxnSpPr/>
              <p:nvPr/>
            </p:nvCxnSpPr>
            <p:spPr>
              <a:xfrm>
                <a:off x="1130364" y="2706891"/>
                <a:ext cx="689246" cy="0"/>
              </a:xfrm>
              <a:prstGeom prst="line">
                <a:avLst/>
              </a:prstGeom>
              <a:noFill/>
              <a:ln w="25400" cap="flat" cmpd="sng" algn="ctr">
                <a:solidFill>
                  <a:srgbClr val="FFFFFF"/>
                </a:solidFill>
                <a:prstDash val="solid"/>
                <a:miter lim="800000"/>
              </a:ln>
              <a:effectLst/>
            </p:spPr>
          </p:cxnSp>
          <p:sp>
            <p:nvSpPr>
              <p:cNvPr id="43" name="TextBox 42"/>
              <p:cNvSpPr txBox="1"/>
              <p:nvPr/>
            </p:nvSpPr>
            <p:spPr>
              <a:xfrm>
                <a:off x="1720025" y="2217996"/>
                <a:ext cx="1879247" cy="360122"/>
              </a:xfrm>
              <a:prstGeom prst="rect">
                <a:avLst/>
              </a:prstGeom>
              <a:noFill/>
            </p:spPr>
            <p:txBody>
              <a:bodyPr wrap="none" rtlCol="0">
                <a:spAutoFit/>
              </a:bodyPr>
              <a:lstStyle/>
              <a:p>
                <a:pPr defTabSz="1016264">
                  <a:defRPr/>
                </a:pPr>
                <a:r>
                  <a:rPr lang="en-US" sz="2001" b="1" kern="0" dirty="0">
                    <a:solidFill>
                      <a:srgbClr val="FFFFFF"/>
                    </a:solidFill>
                    <a:latin typeface="Source Sans Pro"/>
                  </a:rPr>
                  <a:t>TECHNOLOGY</a:t>
                </a:r>
              </a:p>
            </p:txBody>
          </p:sp>
        </p:grpSp>
      </p:grpSp>
      <p:grpSp>
        <p:nvGrpSpPr>
          <p:cNvPr id="44" name="Group 43"/>
          <p:cNvGrpSpPr/>
          <p:nvPr/>
        </p:nvGrpSpPr>
        <p:grpSpPr>
          <a:xfrm>
            <a:off x="3234975" y="4482584"/>
            <a:ext cx="2817680" cy="1358096"/>
            <a:chOff x="4772795" y="3066693"/>
            <a:chExt cx="2646408" cy="1221972"/>
          </a:xfrm>
        </p:grpSpPr>
        <p:sp>
          <p:nvSpPr>
            <p:cNvPr id="45" name="Rectangle 44"/>
            <p:cNvSpPr/>
            <p:nvPr/>
          </p:nvSpPr>
          <p:spPr>
            <a:xfrm>
              <a:off x="4772795" y="3066693"/>
              <a:ext cx="2646408" cy="1221972"/>
            </a:xfrm>
            <a:prstGeom prst="rect">
              <a:avLst/>
            </a:prstGeom>
            <a:solidFill>
              <a:srgbClr val="619405">
                <a:alpha val="75000"/>
              </a:srgbClr>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grpSp>
          <p:nvGrpSpPr>
            <p:cNvPr id="46" name="Group 45"/>
            <p:cNvGrpSpPr/>
            <p:nvPr/>
          </p:nvGrpSpPr>
          <p:grpSpPr>
            <a:xfrm>
              <a:off x="4942575" y="3289344"/>
              <a:ext cx="2048735" cy="760167"/>
              <a:chOff x="1084493" y="4840214"/>
              <a:chExt cx="2048735" cy="760167"/>
            </a:xfrm>
          </p:grpSpPr>
          <p:sp>
            <p:nvSpPr>
              <p:cNvPr id="47" name="TextBox 46"/>
              <p:cNvSpPr txBox="1"/>
              <p:nvPr/>
            </p:nvSpPr>
            <p:spPr>
              <a:xfrm>
                <a:off x="1084493" y="4840214"/>
                <a:ext cx="829867" cy="760167"/>
              </a:xfrm>
              <a:prstGeom prst="rect">
                <a:avLst/>
              </a:prstGeom>
              <a:noFill/>
            </p:spPr>
            <p:txBody>
              <a:bodyPr wrap="none" rtlCol="0">
                <a:spAutoFit/>
              </a:bodyPr>
              <a:lstStyle/>
              <a:p>
                <a:pPr defTabSz="1016264">
                  <a:defRPr/>
                </a:pPr>
                <a:r>
                  <a:rPr lang="vi-VN" sz="4890" b="1" kern="0">
                    <a:solidFill>
                      <a:srgbClr val="FFFFFF"/>
                    </a:solidFill>
                    <a:latin typeface="Source Sans Pro"/>
                  </a:rPr>
                  <a:t>02</a:t>
                </a:r>
                <a:endParaRPr sz="4890" b="1" kern="0">
                  <a:solidFill>
                    <a:srgbClr val="FFFFFF"/>
                  </a:solidFill>
                  <a:latin typeface="Source Sans Pro"/>
                </a:endParaRPr>
              </a:p>
            </p:txBody>
          </p:sp>
          <p:cxnSp>
            <p:nvCxnSpPr>
              <p:cNvPr id="48" name="Straight Connector 47"/>
              <p:cNvCxnSpPr/>
              <p:nvPr/>
            </p:nvCxnSpPr>
            <p:spPr>
              <a:xfrm>
                <a:off x="1130364" y="5527365"/>
                <a:ext cx="689246" cy="0"/>
              </a:xfrm>
              <a:prstGeom prst="line">
                <a:avLst/>
              </a:prstGeom>
              <a:noFill/>
              <a:ln w="25400" cap="flat" cmpd="sng" algn="ctr">
                <a:solidFill>
                  <a:srgbClr val="FFFFFF"/>
                </a:solidFill>
                <a:prstDash val="solid"/>
                <a:miter lim="800000"/>
              </a:ln>
              <a:effectLst/>
            </p:spPr>
          </p:cxnSp>
          <p:sp>
            <p:nvSpPr>
              <p:cNvPr id="49" name="TextBox 48"/>
              <p:cNvSpPr txBox="1"/>
              <p:nvPr/>
            </p:nvSpPr>
            <p:spPr>
              <a:xfrm>
                <a:off x="1981170" y="5036654"/>
                <a:ext cx="1152058" cy="360122"/>
              </a:xfrm>
              <a:prstGeom prst="rect">
                <a:avLst/>
              </a:prstGeom>
              <a:noFill/>
            </p:spPr>
            <p:txBody>
              <a:bodyPr wrap="none" rtlCol="0">
                <a:spAutoFit/>
              </a:bodyPr>
              <a:lstStyle/>
              <a:p>
                <a:pPr defTabSz="1016264">
                  <a:defRPr/>
                </a:pPr>
                <a:r>
                  <a:rPr lang="en-US" sz="2001" b="1" kern="0" dirty="0">
                    <a:solidFill>
                      <a:srgbClr val="FFFFFF"/>
                    </a:solidFill>
                    <a:latin typeface="Source Sans Pro"/>
                  </a:rPr>
                  <a:t>DOMAIN</a:t>
                </a:r>
                <a:endParaRPr sz="2001" b="1" kern="0" dirty="0">
                  <a:solidFill>
                    <a:srgbClr val="FFFFFF"/>
                  </a:solidFill>
                  <a:latin typeface="Source Sans Pro"/>
                </a:endParaRPr>
              </a:p>
            </p:txBody>
          </p:sp>
        </p:grpSp>
      </p:grpSp>
      <p:grpSp>
        <p:nvGrpSpPr>
          <p:cNvPr id="50" name="Group 49"/>
          <p:cNvGrpSpPr/>
          <p:nvPr/>
        </p:nvGrpSpPr>
        <p:grpSpPr>
          <a:xfrm>
            <a:off x="6094951" y="4482584"/>
            <a:ext cx="2817680" cy="1358096"/>
            <a:chOff x="8070760" y="3066693"/>
            <a:chExt cx="2646408" cy="1221972"/>
          </a:xfrm>
        </p:grpSpPr>
        <p:sp>
          <p:nvSpPr>
            <p:cNvPr id="51" name="Rectangle 50"/>
            <p:cNvSpPr/>
            <p:nvPr/>
          </p:nvSpPr>
          <p:spPr>
            <a:xfrm>
              <a:off x="8070760" y="3066693"/>
              <a:ext cx="2646408" cy="1221972"/>
            </a:xfrm>
            <a:prstGeom prst="rect">
              <a:avLst/>
            </a:prstGeom>
            <a:solidFill>
              <a:srgbClr val="F79A00">
                <a:alpha val="75000"/>
              </a:srgbClr>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grpSp>
          <p:nvGrpSpPr>
            <p:cNvPr id="52" name="Group 51"/>
            <p:cNvGrpSpPr/>
            <p:nvPr/>
          </p:nvGrpSpPr>
          <p:grpSpPr>
            <a:xfrm>
              <a:off x="8302799" y="3292958"/>
              <a:ext cx="2363633" cy="760167"/>
              <a:chOff x="1084494" y="3429000"/>
              <a:chExt cx="2363633" cy="760167"/>
            </a:xfrm>
          </p:grpSpPr>
          <p:sp>
            <p:nvSpPr>
              <p:cNvPr id="53" name="TextBox 52"/>
              <p:cNvSpPr txBox="1"/>
              <p:nvPr/>
            </p:nvSpPr>
            <p:spPr>
              <a:xfrm>
                <a:off x="1084494" y="3429000"/>
                <a:ext cx="829867" cy="760167"/>
              </a:xfrm>
              <a:prstGeom prst="rect">
                <a:avLst/>
              </a:prstGeom>
              <a:noFill/>
            </p:spPr>
            <p:txBody>
              <a:bodyPr wrap="none" rtlCol="0">
                <a:spAutoFit/>
              </a:bodyPr>
              <a:lstStyle/>
              <a:p>
                <a:pPr defTabSz="1016264">
                  <a:defRPr/>
                </a:pPr>
                <a:r>
                  <a:rPr lang="vi-VN" sz="4890" b="1" kern="0" dirty="0">
                    <a:solidFill>
                      <a:srgbClr val="FFFFFF"/>
                    </a:solidFill>
                    <a:latin typeface="Source Sans Pro"/>
                  </a:rPr>
                  <a:t>03</a:t>
                </a:r>
                <a:endParaRPr sz="4890" b="1" kern="0" dirty="0">
                  <a:solidFill>
                    <a:srgbClr val="FFFFFF"/>
                  </a:solidFill>
                  <a:latin typeface="Source Sans Pro"/>
                </a:endParaRPr>
              </a:p>
            </p:txBody>
          </p:sp>
          <p:cxnSp>
            <p:nvCxnSpPr>
              <p:cNvPr id="54" name="Straight Connector 53"/>
              <p:cNvCxnSpPr/>
              <p:nvPr/>
            </p:nvCxnSpPr>
            <p:spPr>
              <a:xfrm>
                <a:off x="1130364" y="4097810"/>
                <a:ext cx="689246" cy="0"/>
              </a:xfrm>
              <a:prstGeom prst="line">
                <a:avLst/>
              </a:prstGeom>
              <a:noFill/>
              <a:ln w="25400" cap="flat" cmpd="sng" algn="ctr">
                <a:solidFill>
                  <a:srgbClr val="FFFFFF"/>
                </a:solidFill>
                <a:prstDash val="solid"/>
                <a:miter lim="800000"/>
              </a:ln>
              <a:effectLst/>
            </p:spPr>
          </p:cxnSp>
          <p:sp>
            <p:nvSpPr>
              <p:cNvPr id="55" name="Rectangle 54"/>
              <p:cNvSpPr/>
              <p:nvPr/>
            </p:nvSpPr>
            <p:spPr>
              <a:xfrm>
                <a:off x="1865477" y="3621826"/>
                <a:ext cx="1582650" cy="360122"/>
              </a:xfrm>
              <a:prstGeom prst="rect">
                <a:avLst/>
              </a:prstGeom>
            </p:spPr>
            <p:txBody>
              <a:bodyPr wrap="none">
                <a:spAutoFit/>
              </a:bodyPr>
              <a:lstStyle/>
              <a:p>
                <a:pPr defTabSz="1016264">
                  <a:defRPr/>
                </a:pPr>
                <a:r>
                  <a:rPr lang="en-US" sz="2001" b="1" kern="0" dirty="0">
                    <a:solidFill>
                      <a:srgbClr val="FFFFFF"/>
                    </a:solidFill>
                    <a:latin typeface="Source Sans Pro"/>
                  </a:rPr>
                  <a:t>SOLUTIONS</a:t>
                </a:r>
                <a:endParaRPr sz="2001" b="1" kern="0" dirty="0">
                  <a:solidFill>
                    <a:srgbClr val="FFFFFF"/>
                  </a:solidFill>
                  <a:latin typeface="Source Sans Pro"/>
                </a:endParaRPr>
              </a:p>
            </p:txBody>
          </p:sp>
        </p:grpSp>
      </p:grpSp>
      <p:sp>
        <p:nvSpPr>
          <p:cNvPr id="57" name="Rectangle 56"/>
          <p:cNvSpPr/>
          <p:nvPr>
            <p:custDataLst>
              <p:tags r:id="rId9"/>
            </p:custDataLst>
          </p:nvPr>
        </p:nvSpPr>
        <p:spPr>
          <a:xfrm>
            <a:off x="8966812" y="1401797"/>
            <a:ext cx="2817680" cy="81497"/>
          </a:xfrm>
          <a:prstGeom prst="rect">
            <a:avLst/>
          </a:prstGeom>
          <a:solidFill>
            <a:srgbClr val="D05126"/>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a:endParaRPr sz="1223" kern="0">
              <a:solidFill>
                <a:srgbClr val="FFFFFF"/>
              </a:solidFill>
              <a:latin typeface="Source Sans Pro"/>
            </a:endParaRPr>
          </a:p>
        </p:txBody>
      </p:sp>
      <p:sp>
        <p:nvSpPr>
          <p:cNvPr id="58" name="TextBox 57"/>
          <p:cNvSpPr txBox="1"/>
          <p:nvPr>
            <p:custDataLst>
              <p:tags r:id="rId10"/>
            </p:custDataLst>
          </p:nvPr>
        </p:nvSpPr>
        <p:spPr>
          <a:xfrm>
            <a:off x="8966811" y="1384657"/>
            <a:ext cx="2817680" cy="3444276"/>
          </a:xfrm>
          <a:prstGeom prst="rect">
            <a:avLst/>
          </a:prstGeom>
          <a:noFill/>
        </p:spPr>
        <p:txBody>
          <a:bodyPr wrap="square" rtlCol="0">
            <a:spAutoFit/>
          </a:bodyPr>
          <a:lstStyle/>
          <a:p>
            <a:pPr marL="317583" indent="-317583" algn="just" defTabSz="1016264">
              <a:lnSpc>
                <a:spcPct val="200000"/>
              </a:lnSpc>
              <a:buFont typeface="Arial" panose="020B0604020202020204" pitchFamily="34" charset="0"/>
              <a:buChar char="•"/>
              <a:defRPr/>
            </a:pPr>
            <a:r>
              <a:rPr sz="1556" b="1" kern="0" dirty="0">
                <a:solidFill>
                  <a:srgbClr val="D05126"/>
                </a:solidFill>
                <a:latin typeface="Calibri"/>
              </a:rPr>
              <a:t>MATLAB | OCTAVE</a:t>
            </a:r>
          </a:p>
          <a:p>
            <a:pPr marL="317583" indent="-317583" algn="just">
              <a:lnSpc>
                <a:spcPct val="200000"/>
              </a:lnSpc>
              <a:buFont typeface="Arial" panose="020B0604020202020204" pitchFamily="34" charset="0"/>
              <a:buChar char="•"/>
            </a:pPr>
            <a:r>
              <a:rPr lang="en-US" sz="1556" b="1" kern="0" dirty="0" err="1">
                <a:solidFill>
                  <a:srgbClr val="D05126"/>
                </a:solidFill>
                <a:latin typeface="Calibri"/>
              </a:rPr>
              <a:t>Keras|Tensorflow|PyTorch</a:t>
            </a:r>
            <a:endParaRPr lang="en-US" sz="1556" b="1" kern="0" dirty="0">
              <a:solidFill>
                <a:srgbClr val="D05126"/>
              </a:solidFill>
              <a:latin typeface="Calibri"/>
            </a:endParaRPr>
          </a:p>
          <a:p>
            <a:pPr marL="317583" indent="-317583" algn="just">
              <a:lnSpc>
                <a:spcPct val="200000"/>
              </a:lnSpc>
              <a:buFont typeface="Arial" panose="020B0604020202020204" pitchFamily="34" charset="0"/>
              <a:buChar char="•"/>
            </a:pPr>
            <a:r>
              <a:rPr lang="en-US" sz="1556" b="1" kern="0" dirty="0">
                <a:solidFill>
                  <a:srgbClr val="D05126"/>
                </a:solidFill>
                <a:latin typeface="Calibri"/>
              </a:rPr>
              <a:t>OpenCV</a:t>
            </a:r>
          </a:p>
          <a:p>
            <a:pPr marL="317583" indent="-317583" algn="just">
              <a:lnSpc>
                <a:spcPct val="200000"/>
              </a:lnSpc>
              <a:buFont typeface="Arial" panose="020B0604020202020204" pitchFamily="34" charset="0"/>
              <a:buChar char="•"/>
            </a:pPr>
            <a:r>
              <a:rPr lang="en-US" sz="1556" b="1" kern="0" dirty="0">
                <a:solidFill>
                  <a:srgbClr val="D05126"/>
                </a:solidFill>
                <a:latin typeface="Calibri"/>
              </a:rPr>
              <a:t>SciKit</a:t>
            </a:r>
          </a:p>
          <a:p>
            <a:pPr marL="317583" indent="-317583" algn="just">
              <a:lnSpc>
                <a:spcPct val="200000"/>
              </a:lnSpc>
              <a:buFont typeface="Arial" panose="020B0604020202020204" pitchFamily="34" charset="0"/>
              <a:buChar char="•"/>
            </a:pPr>
            <a:r>
              <a:rPr lang="en-US" sz="1556" b="1" kern="0" dirty="0">
                <a:solidFill>
                  <a:srgbClr val="D05126"/>
                </a:solidFill>
                <a:latin typeface="Calibri"/>
              </a:rPr>
              <a:t>Visualization</a:t>
            </a:r>
          </a:p>
          <a:p>
            <a:pPr marL="317583" indent="-317583" algn="just">
              <a:lnSpc>
                <a:spcPct val="200000"/>
              </a:lnSpc>
              <a:buFont typeface="Arial" panose="020B0604020202020204" pitchFamily="34" charset="0"/>
              <a:buChar char="•"/>
            </a:pPr>
            <a:endParaRPr lang="en-US" sz="1556" b="1" kern="0" dirty="0">
              <a:solidFill>
                <a:srgbClr val="D05126"/>
              </a:solidFill>
              <a:latin typeface="Calibri"/>
            </a:endParaRPr>
          </a:p>
          <a:p>
            <a:pPr marL="317583" indent="-317583" algn="just">
              <a:lnSpc>
                <a:spcPct val="200000"/>
              </a:lnSpc>
              <a:buFont typeface="Arial" panose="020B0604020202020204" pitchFamily="34" charset="0"/>
              <a:buChar char="•"/>
            </a:pPr>
            <a:endParaRPr lang="en-US" sz="1556" b="1" kern="0" dirty="0">
              <a:solidFill>
                <a:srgbClr val="D05126"/>
              </a:solidFill>
              <a:latin typeface="Calibri"/>
            </a:endParaRPr>
          </a:p>
        </p:txBody>
      </p:sp>
      <p:sp>
        <p:nvSpPr>
          <p:cNvPr id="62" name="TextBox 61"/>
          <p:cNvSpPr txBox="1"/>
          <p:nvPr>
            <p:custDataLst>
              <p:tags r:id="rId11"/>
            </p:custDataLst>
          </p:nvPr>
        </p:nvSpPr>
        <p:spPr>
          <a:xfrm>
            <a:off x="9213869" y="4734055"/>
            <a:ext cx="883575" cy="844847"/>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tabLst/>
              <a:defRPr kumimoji="0" sz="4400" b="1" strike="noStrike" kern="0" cap="none" spc="0" normalizeH="0" baseline="0">
                <a:ln>
                  <a:noFill/>
                </a:ln>
                <a:solidFill>
                  <a:srgbClr val="FFFFFF"/>
                </a:solidFill>
                <a:effectLst/>
                <a:uLnTx/>
                <a:uFillTx/>
                <a:latin typeface="Source Sans Pro"/>
              </a:defRPr>
            </a:lvl1pPr>
          </a:lstStyle>
          <a:p>
            <a:r>
              <a:rPr lang="en-US" sz="4890" dirty="0"/>
              <a:t>04</a:t>
            </a:r>
            <a:endParaRPr sz="4890" dirty="0"/>
          </a:p>
        </p:txBody>
      </p:sp>
      <p:cxnSp>
        <p:nvCxnSpPr>
          <p:cNvPr id="63" name="Straight Connector 62"/>
          <p:cNvCxnSpPr/>
          <p:nvPr>
            <p:custDataLst>
              <p:tags r:id="rId12"/>
            </p:custDataLst>
          </p:nvPr>
        </p:nvCxnSpPr>
        <p:spPr>
          <a:xfrm>
            <a:off x="9262705" y="5477368"/>
            <a:ext cx="733853" cy="0"/>
          </a:xfrm>
          <a:prstGeom prst="line">
            <a:avLst/>
          </a:prstGeom>
          <a:solidFill>
            <a:srgbClr val="D05126"/>
          </a:solidFill>
          <a:ln w="57150" cap="flat" cmpd="sng" algn="ctr">
            <a:noFill/>
            <a:prstDash val="solid"/>
            <a:miter lim="800000"/>
          </a:ln>
          <a:effectLst/>
        </p:spPr>
      </p:cxnSp>
      <p:sp>
        <p:nvSpPr>
          <p:cNvPr id="64" name="Rectangle 63"/>
          <p:cNvSpPr/>
          <p:nvPr>
            <p:custDataLst>
              <p:tags r:id="rId13"/>
            </p:custDataLst>
          </p:nvPr>
        </p:nvSpPr>
        <p:spPr>
          <a:xfrm>
            <a:off x="9996558" y="4835171"/>
            <a:ext cx="1492038" cy="718330"/>
          </a:xfrm>
          <a:prstGeom prst="rect">
            <a:avLst/>
          </a:prstGeom>
          <a:solidFill>
            <a:srgbClr val="D05126"/>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a:r>
              <a:rPr lang="en-US" sz="2001" b="1" kern="0" dirty="0">
                <a:solidFill>
                  <a:srgbClr val="FFFFFF"/>
                </a:solidFill>
                <a:latin typeface="Source Sans Pro"/>
              </a:rPr>
              <a:t>TOOLS</a:t>
            </a:r>
          </a:p>
        </p:txBody>
      </p:sp>
      <p:cxnSp>
        <p:nvCxnSpPr>
          <p:cNvPr id="65" name="Straight Connector 64"/>
          <p:cNvCxnSpPr/>
          <p:nvPr>
            <p:custDataLst>
              <p:tags r:id="rId14"/>
            </p:custDataLst>
          </p:nvPr>
        </p:nvCxnSpPr>
        <p:spPr>
          <a:xfrm>
            <a:off x="9298748" y="5477368"/>
            <a:ext cx="733853" cy="0"/>
          </a:xfrm>
          <a:prstGeom prst="line">
            <a:avLst/>
          </a:prstGeom>
          <a:noFill/>
          <a:ln w="25400" cap="flat" cmpd="sng" algn="ctr">
            <a:solidFill>
              <a:srgbClr val="FFFFFF"/>
            </a:solidFill>
            <a:prstDash val="solid"/>
            <a:miter lim="800000"/>
          </a:ln>
          <a:effectLst/>
        </p:spPr>
      </p:cxnSp>
    </p:spTree>
    <p:custDataLst>
      <p:tags r:id="rId1"/>
    </p:custDataLst>
    <p:extLst>
      <p:ext uri="{BB962C8B-B14F-4D97-AF65-F5344CB8AC3E}">
        <p14:creationId xmlns:p14="http://schemas.microsoft.com/office/powerpoint/2010/main" val="447505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smtClean="0"/>
              <a:t>Big Data and Artificial Intelligence</a:t>
            </a:r>
            <a:endParaRPr lang="en-US" sz="3112" kern="0" dirty="0"/>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a:spLocks/>
          </p:cNvSpPr>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Intelligent image processing, ML based classification</a:t>
            </a:r>
          </a:p>
        </p:txBody>
      </p:sp>
      <p:grpSp>
        <p:nvGrpSpPr>
          <p:cNvPr id="37" name="Group 36">
            <a:extLst>
              <a:ext uri="{FF2B5EF4-FFF2-40B4-BE49-F238E27FC236}">
                <a16:creationId xmlns:a16="http://schemas.microsoft.com/office/drawing/2014/main" id="{3AC082AF-8578-43E5-A301-6BFE155349A1}"/>
              </a:ext>
            </a:extLst>
          </p:cNvPr>
          <p:cNvGrpSpPr/>
          <p:nvPr/>
        </p:nvGrpSpPr>
        <p:grpSpPr>
          <a:xfrm>
            <a:off x="628710" y="1365715"/>
            <a:ext cx="3370987" cy="640167"/>
            <a:chOff x="628533" y="903309"/>
            <a:chExt cx="3371095" cy="640187"/>
          </a:xfrm>
        </p:grpSpPr>
        <p:pic>
          <p:nvPicPr>
            <p:cNvPr id="38" name="Picture 37" descr="A close up of a logo&#10;&#10;Description automatically generated">
              <a:extLst>
                <a:ext uri="{FF2B5EF4-FFF2-40B4-BE49-F238E27FC236}">
                  <a16:creationId xmlns:a16="http://schemas.microsoft.com/office/drawing/2014/main" id="{B9EFABDF-793C-422D-9233-15842A9A59F6}"/>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28533" y="903309"/>
              <a:ext cx="3371095" cy="640187"/>
            </a:xfrm>
            <a:prstGeom prst="rect">
              <a:avLst/>
            </a:prstGeom>
            <a:solidFill>
              <a:schemeClr val="accent1"/>
            </a:solidFill>
          </p:spPr>
        </p:pic>
        <p:sp>
          <p:nvSpPr>
            <p:cNvPr id="39" name="Rectangle 38">
              <a:extLst>
                <a:ext uri="{FF2B5EF4-FFF2-40B4-BE49-F238E27FC236}">
                  <a16:creationId xmlns:a16="http://schemas.microsoft.com/office/drawing/2014/main" id="{D813EEF2-A1FB-44EF-AC74-CF8D68A26D4D}"/>
                </a:ext>
              </a:extLst>
            </p:cNvPr>
            <p:cNvSpPr/>
            <p:nvPr/>
          </p:nvSpPr>
          <p:spPr>
            <a:xfrm>
              <a:off x="826332" y="982231"/>
              <a:ext cx="2975590" cy="425771"/>
            </a:xfrm>
            <a:prstGeom prst="rect">
              <a:avLst/>
            </a:prstGeom>
          </p:spPr>
          <p:txBody>
            <a:bodyPr wrap="none">
              <a:spAutoFit/>
            </a:bodyPr>
            <a:lstStyle/>
            <a:p>
              <a:pPr defTabSz="1016190" fontAlgn="base">
                <a:lnSpc>
                  <a:spcPts val="2556"/>
                </a:lnSpc>
                <a:spcBef>
                  <a:spcPct val="0"/>
                </a:spcBef>
                <a:spcAft>
                  <a:spcPct val="0"/>
                </a:spcAft>
              </a:pPr>
              <a:r>
                <a:rPr lang="en-US" sz="1600" b="1" dirty="0">
                  <a:solidFill>
                    <a:prstClr val="white"/>
                  </a:solidFill>
                  <a:latin typeface="Bosch Office Sans" pitchFamily="2" charset="0"/>
                </a:rPr>
                <a:t>Advanced Image Processing</a:t>
              </a:r>
            </a:p>
          </p:txBody>
        </p:sp>
      </p:grpSp>
      <p:grpSp>
        <p:nvGrpSpPr>
          <p:cNvPr id="40" name="Group 39">
            <a:extLst>
              <a:ext uri="{FF2B5EF4-FFF2-40B4-BE49-F238E27FC236}">
                <a16:creationId xmlns:a16="http://schemas.microsoft.com/office/drawing/2014/main" id="{E33E12BB-147F-4D35-9DA2-A409586E5078}"/>
              </a:ext>
            </a:extLst>
          </p:cNvPr>
          <p:cNvGrpSpPr/>
          <p:nvPr/>
        </p:nvGrpSpPr>
        <p:grpSpPr>
          <a:xfrm>
            <a:off x="9219235" y="1365716"/>
            <a:ext cx="2505490" cy="640166"/>
            <a:chOff x="6116538" y="1468390"/>
            <a:chExt cx="2505571" cy="640186"/>
          </a:xfrm>
        </p:grpSpPr>
        <p:pic>
          <p:nvPicPr>
            <p:cNvPr id="41" name="Picture 40" descr="A close up of a logo&#10;&#10;Description automatically generated">
              <a:extLst>
                <a:ext uri="{FF2B5EF4-FFF2-40B4-BE49-F238E27FC236}">
                  <a16:creationId xmlns:a16="http://schemas.microsoft.com/office/drawing/2014/main" id="{E5727B62-DC08-4107-8463-C987E81208A8}"/>
                </a:ext>
              </a:extLst>
            </p:cNvPr>
            <p:cNvPicPr>
              <a:picLocks noChangeAspect="1"/>
            </p:cNvPicPr>
            <p:nvPr/>
          </p:nvPicPr>
          <p:blipFill>
            <a:blip r:embed="rId30" cstate="hqprint">
              <a:extLst>
                <a:ext uri="{28A0092B-C50C-407E-A947-70E740481C1C}">
                  <a14:useLocalDpi xmlns:a14="http://schemas.microsoft.com/office/drawing/2010/main" val="0"/>
                </a:ext>
              </a:extLst>
            </a:blip>
            <a:stretch>
              <a:fillRect/>
            </a:stretch>
          </p:blipFill>
          <p:spPr>
            <a:xfrm>
              <a:off x="6116538" y="1468390"/>
              <a:ext cx="2505571" cy="640186"/>
            </a:xfrm>
            <a:prstGeom prst="rect">
              <a:avLst/>
            </a:prstGeom>
          </p:spPr>
        </p:pic>
        <p:sp>
          <p:nvSpPr>
            <p:cNvPr id="42" name="Rectangle 41">
              <a:extLst>
                <a:ext uri="{FF2B5EF4-FFF2-40B4-BE49-F238E27FC236}">
                  <a16:creationId xmlns:a16="http://schemas.microsoft.com/office/drawing/2014/main" id="{D3B60D6A-F4F9-4988-924F-A126B65DAB1C}"/>
                </a:ext>
              </a:extLst>
            </p:cNvPr>
            <p:cNvSpPr/>
            <p:nvPr/>
          </p:nvSpPr>
          <p:spPr>
            <a:xfrm>
              <a:off x="6665525" y="1562669"/>
              <a:ext cx="1427040" cy="425771"/>
            </a:xfrm>
            <a:prstGeom prst="rect">
              <a:avLst/>
            </a:prstGeom>
          </p:spPr>
          <p:txBody>
            <a:bodyPr wrap="none">
              <a:spAutoFit/>
            </a:bodyPr>
            <a:lstStyle/>
            <a:p>
              <a:pPr defTabSz="1016190" fontAlgn="base">
                <a:lnSpc>
                  <a:spcPts val="2556"/>
                </a:lnSpc>
                <a:spcBef>
                  <a:spcPct val="0"/>
                </a:spcBef>
                <a:spcAft>
                  <a:spcPct val="0"/>
                </a:spcAft>
              </a:pPr>
              <a:r>
                <a:rPr lang="en-US" sz="1600" b="1" dirty="0">
                  <a:solidFill>
                    <a:prstClr val="white"/>
                  </a:solidFill>
                  <a:latin typeface="Bosch Office Sans" pitchFamily="2" charset="0"/>
                </a:rPr>
                <a:t>Key Benefits</a:t>
              </a:r>
            </a:p>
          </p:txBody>
        </p:sp>
      </p:grpSp>
      <p:grpSp>
        <p:nvGrpSpPr>
          <p:cNvPr id="43" name="Group 42">
            <a:extLst>
              <a:ext uri="{FF2B5EF4-FFF2-40B4-BE49-F238E27FC236}">
                <a16:creationId xmlns:a16="http://schemas.microsoft.com/office/drawing/2014/main" id="{99DC7030-438D-4419-8C2C-1F310BFCDFB7}"/>
              </a:ext>
            </a:extLst>
          </p:cNvPr>
          <p:cNvGrpSpPr/>
          <p:nvPr/>
        </p:nvGrpSpPr>
        <p:grpSpPr>
          <a:xfrm>
            <a:off x="4351594" y="1324619"/>
            <a:ext cx="4451133" cy="3535014"/>
            <a:chOff x="3408028" y="1110159"/>
            <a:chExt cx="4182256" cy="4116614"/>
          </a:xfrm>
        </p:grpSpPr>
        <p:pic>
          <p:nvPicPr>
            <p:cNvPr id="44" name="Picture 43">
              <a:extLst>
                <a:ext uri="{FF2B5EF4-FFF2-40B4-BE49-F238E27FC236}">
                  <a16:creationId xmlns:a16="http://schemas.microsoft.com/office/drawing/2014/main" id="{1A0026FB-6F67-411B-8235-CC350EC0C961}"/>
                </a:ext>
              </a:extLst>
            </p:cNvPr>
            <p:cNvPicPr>
              <a:picLocks noChangeAspect="1"/>
            </p:cNvPicPr>
            <p:nvPr>
              <p:custDataLst>
                <p:tags r:id="rId24"/>
              </p:custDataLst>
            </p:nvPr>
          </p:nvPicPr>
          <p:blipFill>
            <a:blip r:embed="rId31">
              <a:extLst>
                <a:ext uri="{28A0092B-C50C-407E-A947-70E740481C1C}">
                  <a14:useLocalDpi xmlns:a14="http://schemas.microsoft.com/office/drawing/2010/main" val="0"/>
                </a:ext>
              </a:extLst>
            </a:blip>
            <a:stretch>
              <a:fillRect/>
            </a:stretch>
          </p:blipFill>
          <p:spPr>
            <a:xfrm>
              <a:off x="3681382" y="3974920"/>
              <a:ext cx="2852519" cy="1082856"/>
            </a:xfrm>
            <a:prstGeom prst="rect">
              <a:avLst/>
            </a:prstGeom>
          </p:spPr>
        </p:pic>
        <p:pic>
          <p:nvPicPr>
            <p:cNvPr id="45" name="Picture 44">
              <a:extLst>
                <a:ext uri="{FF2B5EF4-FFF2-40B4-BE49-F238E27FC236}">
                  <a16:creationId xmlns:a16="http://schemas.microsoft.com/office/drawing/2014/main" id="{D596E98F-69B5-41D6-BC11-C168D4D9DFAE}"/>
                </a:ext>
              </a:extLst>
            </p:cNvPr>
            <p:cNvPicPr>
              <a:picLocks noChangeAspect="1"/>
            </p:cNvPicPr>
            <p:nvPr>
              <p:custDataLst>
                <p:tags r:id="rId25"/>
              </p:custDataLst>
            </p:nvPr>
          </p:nvPicPr>
          <p:blipFill>
            <a:blip r:embed="rId32" cstate="print">
              <a:extLst>
                <a:ext uri="{28A0092B-C50C-407E-A947-70E740481C1C}">
                  <a14:useLocalDpi xmlns:a14="http://schemas.microsoft.com/office/drawing/2010/main" val="0"/>
                </a:ext>
              </a:extLst>
            </a:blip>
            <a:stretch>
              <a:fillRect/>
            </a:stretch>
          </p:blipFill>
          <p:spPr>
            <a:xfrm>
              <a:off x="3408028" y="1110159"/>
              <a:ext cx="4182256" cy="2924774"/>
            </a:xfrm>
            <a:prstGeom prst="rect">
              <a:avLst/>
            </a:prstGeom>
          </p:spPr>
        </p:pic>
        <p:grpSp>
          <p:nvGrpSpPr>
            <p:cNvPr id="46" name="Group 45">
              <a:extLst>
                <a:ext uri="{FF2B5EF4-FFF2-40B4-BE49-F238E27FC236}">
                  <a16:creationId xmlns:a16="http://schemas.microsoft.com/office/drawing/2014/main" id="{9E0A820B-6D01-490C-BC20-ACFA698C64AB}"/>
                </a:ext>
              </a:extLst>
            </p:cNvPr>
            <p:cNvGrpSpPr/>
            <p:nvPr/>
          </p:nvGrpSpPr>
          <p:grpSpPr>
            <a:xfrm>
              <a:off x="6632107" y="4041283"/>
              <a:ext cx="781050" cy="1185490"/>
              <a:chOff x="9650206" y="3906972"/>
              <a:chExt cx="781050" cy="1185490"/>
            </a:xfrm>
          </p:grpSpPr>
          <p:pic>
            <p:nvPicPr>
              <p:cNvPr id="47" name="Picture 46">
                <a:extLst>
                  <a:ext uri="{FF2B5EF4-FFF2-40B4-BE49-F238E27FC236}">
                    <a16:creationId xmlns:a16="http://schemas.microsoft.com/office/drawing/2014/main" id="{6B976D3B-F92C-4C35-BEE0-88CB6F94EF36}"/>
                  </a:ext>
                </a:extLst>
              </p:cNvPr>
              <p:cNvPicPr>
                <a:picLocks noChangeAspect="1"/>
              </p:cNvPicPr>
              <p:nvPr>
                <p:custDataLst>
                  <p:tags r:id="rId26"/>
                </p:custDataLst>
              </p:nvPr>
            </p:nvPicPr>
            <p:blipFill>
              <a:blip r:embed="rId33">
                <a:extLst>
                  <a:ext uri="{28A0092B-C50C-407E-A947-70E740481C1C}">
                    <a14:useLocalDpi xmlns:a14="http://schemas.microsoft.com/office/drawing/2010/main" val="0"/>
                  </a:ext>
                </a:extLst>
              </a:blip>
              <a:stretch>
                <a:fillRect/>
              </a:stretch>
            </p:blipFill>
            <p:spPr>
              <a:xfrm>
                <a:off x="9650206" y="3906972"/>
                <a:ext cx="781050" cy="695325"/>
              </a:xfrm>
              <a:prstGeom prst="rect">
                <a:avLst/>
              </a:prstGeom>
            </p:spPr>
          </p:pic>
          <p:sp>
            <p:nvSpPr>
              <p:cNvPr id="48" name="TextBox 47">
                <a:extLst>
                  <a:ext uri="{FF2B5EF4-FFF2-40B4-BE49-F238E27FC236}">
                    <a16:creationId xmlns:a16="http://schemas.microsoft.com/office/drawing/2014/main" id="{9C1A36BC-EB0E-4501-88A4-C608D486064E}"/>
                  </a:ext>
                </a:extLst>
              </p:cNvPr>
              <p:cNvSpPr txBox="1"/>
              <p:nvPr>
                <p:custDataLst>
                  <p:tags r:id="rId27"/>
                </p:custDataLst>
              </p:nvPr>
            </p:nvSpPr>
            <p:spPr>
              <a:xfrm rot="3483517">
                <a:off x="9954435" y="4694781"/>
                <a:ext cx="728773" cy="66589"/>
              </a:xfrm>
              <a:prstGeom prst="rect">
                <a:avLst/>
              </a:prstGeom>
              <a:noFill/>
            </p:spPr>
            <p:txBody>
              <a:bodyPr wrap="square" lIns="0" tIns="0" rIns="0" bIns="0" rtlCol="0">
                <a:noAutofit/>
              </a:bodyPr>
              <a:lstStyle/>
              <a:p>
                <a:pPr defTabSz="1016190">
                  <a:lnSpc>
                    <a:spcPts val="2556"/>
                  </a:lnSpc>
                  <a:spcBef>
                    <a:spcPts val="556"/>
                  </a:spcBef>
                </a:pPr>
                <a:r>
                  <a:rPr lang="en-GB" sz="778" b="1" kern="0" dirty="0">
                    <a:solidFill>
                      <a:schemeClr val="tx2">
                        <a:lumMod val="75000"/>
                      </a:schemeClr>
                    </a:solidFill>
                  </a:rPr>
                  <a:t>Platelets</a:t>
                </a:r>
              </a:p>
            </p:txBody>
          </p:sp>
        </p:grpSp>
      </p:grpSp>
      <p:grpSp>
        <p:nvGrpSpPr>
          <p:cNvPr id="49" name="Group 48">
            <a:extLst>
              <a:ext uri="{FF2B5EF4-FFF2-40B4-BE49-F238E27FC236}">
                <a16:creationId xmlns:a16="http://schemas.microsoft.com/office/drawing/2014/main" id="{4567A416-01B9-4FA3-BA0A-0A8CAC33F8FD}"/>
              </a:ext>
            </a:extLst>
          </p:cNvPr>
          <p:cNvGrpSpPr/>
          <p:nvPr/>
        </p:nvGrpSpPr>
        <p:grpSpPr>
          <a:xfrm>
            <a:off x="628709" y="2217836"/>
            <a:ext cx="3458096" cy="2387717"/>
            <a:chOff x="533907" y="1947252"/>
            <a:chExt cx="3408665" cy="2353587"/>
          </a:xfrm>
        </p:grpSpPr>
        <p:sp>
          <p:nvSpPr>
            <p:cNvPr id="50" name="TextBox 49">
              <a:extLst>
                <a:ext uri="{FF2B5EF4-FFF2-40B4-BE49-F238E27FC236}">
                  <a16:creationId xmlns:a16="http://schemas.microsoft.com/office/drawing/2014/main" id="{4E39AEC6-ECB9-4ACE-9BCB-5F716B2DC8D1}"/>
                </a:ext>
              </a:extLst>
            </p:cNvPr>
            <p:cNvSpPr txBox="1"/>
            <p:nvPr>
              <p:custDataLst>
                <p:tags r:id="rId14"/>
              </p:custDataLst>
            </p:nvPr>
          </p:nvSpPr>
          <p:spPr>
            <a:xfrm>
              <a:off x="2196647" y="2377901"/>
              <a:ext cx="871057" cy="211714"/>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Background Removal</a:t>
              </a:r>
            </a:p>
          </p:txBody>
        </p:sp>
        <p:sp>
          <p:nvSpPr>
            <p:cNvPr id="51" name="TextBox 50">
              <a:extLst>
                <a:ext uri="{FF2B5EF4-FFF2-40B4-BE49-F238E27FC236}">
                  <a16:creationId xmlns:a16="http://schemas.microsoft.com/office/drawing/2014/main" id="{CA1E23FE-6937-41B3-91BE-D989E116F41D}"/>
                </a:ext>
              </a:extLst>
            </p:cNvPr>
            <p:cNvSpPr txBox="1"/>
            <p:nvPr>
              <p:custDataLst>
                <p:tags r:id="rId15"/>
              </p:custDataLst>
            </p:nvPr>
          </p:nvSpPr>
          <p:spPr>
            <a:xfrm>
              <a:off x="2491399" y="2718801"/>
              <a:ext cx="871057" cy="261433"/>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Edge Retained</a:t>
              </a:r>
            </a:p>
          </p:txBody>
        </p:sp>
        <p:sp>
          <p:nvSpPr>
            <p:cNvPr id="52" name="TextBox 51">
              <a:extLst>
                <a:ext uri="{FF2B5EF4-FFF2-40B4-BE49-F238E27FC236}">
                  <a16:creationId xmlns:a16="http://schemas.microsoft.com/office/drawing/2014/main" id="{8B241EB0-D2F0-464D-9182-5E19E7A9729A}"/>
                </a:ext>
              </a:extLst>
            </p:cNvPr>
            <p:cNvSpPr txBox="1"/>
            <p:nvPr>
              <p:custDataLst>
                <p:tags r:id="rId16"/>
              </p:custDataLst>
            </p:nvPr>
          </p:nvSpPr>
          <p:spPr>
            <a:xfrm>
              <a:off x="2551862" y="3115038"/>
              <a:ext cx="871057" cy="211714"/>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Binary </a:t>
              </a:r>
            </a:p>
          </p:txBody>
        </p:sp>
        <p:sp>
          <p:nvSpPr>
            <p:cNvPr id="53" name="TextBox 52">
              <a:extLst>
                <a:ext uri="{FF2B5EF4-FFF2-40B4-BE49-F238E27FC236}">
                  <a16:creationId xmlns:a16="http://schemas.microsoft.com/office/drawing/2014/main" id="{D9F9C4ED-8F37-4AD1-89AF-48CABE0F4D0E}"/>
                </a:ext>
              </a:extLst>
            </p:cNvPr>
            <p:cNvSpPr txBox="1"/>
            <p:nvPr>
              <p:custDataLst>
                <p:tags r:id="rId17"/>
              </p:custDataLst>
            </p:nvPr>
          </p:nvSpPr>
          <p:spPr>
            <a:xfrm>
              <a:off x="2782340" y="3556938"/>
              <a:ext cx="1160232" cy="197062"/>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Contour</a:t>
              </a:r>
            </a:p>
            <a:p>
              <a:pPr defTabSz="1016190">
                <a:lnSpc>
                  <a:spcPct val="107000"/>
                </a:lnSpc>
                <a:spcBef>
                  <a:spcPts val="556"/>
                </a:spcBef>
              </a:pPr>
              <a:r>
                <a:rPr lang="en-US" sz="1223" b="1" kern="0" dirty="0">
                  <a:solidFill>
                    <a:srgbClr val="000000"/>
                  </a:solidFill>
                </a:rPr>
                <a:t> Extraction</a:t>
              </a:r>
            </a:p>
          </p:txBody>
        </p:sp>
        <p:sp>
          <p:nvSpPr>
            <p:cNvPr id="54" name="TextBox 53">
              <a:extLst>
                <a:ext uri="{FF2B5EF4-FFF2-40B4-BE49-F238E27FC236}">
                  <a16:creationId xmlns:a16="http://schemas.microsoft.com/office/drawing/2014/main" id="{7F891047-0A0B-415F-9425-7FD904395A8D}"/>
                </a:ext>
              </a:extLst>
            </p:cNvPr>
            <p:cNvSpPr txBox="1"/>
            <p:nvPr>
              <p:custDataLst>
                <p:tags r:id="rId18"/>
              </p:custDataLst>
            </p:nvPr>
          </p:nvSpPr>
          <p:spPr>
            <a:xfrm>
              <a:off x="2135618" y="2014633"/>
              <a:ext cx="871057" cy="167963"/>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Input Image</a:t>
              </a:r>
            </a:p>
          </p:txBody>
        </p:sp>
        <p:grpSp>
          <p:nvGrpSpPr>
            <p:cNvPr id="55" name="Group 54">
              <a:extLst>
                <a:ext uri="{FF2B5EF4-FFF2-40B4-BE49-F238E27FC236}">
                  <a16:creationId xmlns:a16="http://schemas.microsoft.com/office/drawing/2014/main" id="{15CE2C21-D00E-4E03-9279-5445233D3D76}"/>
                </a:ext>
              </a:extLst>
            </p:cNvPr>
            <p:cNvGrpSpPr/>
            <p:nvPr/>
          </p:nvGrpSpPr>
          <p:grpSpPr>
            <a:xfrm>
              <a:off x="533907" y="1947252"/>
              <a:ext cx="2192286" cy="2353587"/>
              <a:chOff x="533907" y="1947252"/>
              <a:chExt cx="2192286" cy="2353587"/>
            </a:xfrm>
          </p:grpSpPr>
          <p:pic>
            <p:nvPicPr>
              <p:cNvPr id="56" name="Picture 55">
                <a:extLst>
                  <a:ext uri="{FF2B5EF4-FFF2-40B4-BE49-F238E27FC236}">
                    <a16:creationId xmlns:a16="http://schemas.microsoft.com/office/drawing/2014/main" id="{7EA46BEC-3556-44B6-94B1-E8AE5EA7CCC3}"/>
                  </a:ext>
                </a:extLst>
              </p:cNvPr>
              <p:cNvPicPr>
                <a:picLocks/>
              </p:cNvPicPr>
              <p:nvPr>
                <p:custDataLst>
                  <p:tags r:id="rId19"/>
                </p:custDataLst>
              </p:nvPr>
            </p:nvPicPr>
            <p:blipFill>
              <a:blip r:embed="rId34">
                <a:extLst>
                  <a:ext uri="{28A0092B-C50C-407E-A947-70E740481C1C}">
                    <a14:useLocalDpi xmlns:a14="http://schemas.microsoft.com/office/drawing/2010/main" val="0"/>
                  </a:ext>
                </a:extLst>
              </a:blip>
              <a:stretch>
                <a:fillRect/>
              </a:stretch>
            </p:blipFill>
            <p:spPr>
              <a:xfrm>
                <a:off x="533907" y="1947252"/>
                <a:ext cx="1524392" cy="1219514"/>
              </a:xfrm>
              <a:prstGeom prst="rect">
                <a:avLst/>
              </a:prstGeom>
            </p:spPr>
          </p:pic>
          <p:pic>
            <p:nvPicPr>
              <p:cNvPr id="57" name="Picture 56">
                <a:extLst>
                  <a:ext uri="{FF2B5EF4-FFF2-40B4-BE49-F238E27FC236}">
                    <a16:creationId xmlns:a16="http://schemas.microsoft.com/office/drawing/2014/main" id="{D8747BBA-DACC-442B-9C9B-16043A4CA0DB}"/>
                  </a:ext>
                </a:extLst>
              </p:cNvPr>
              <p:cNvPicPr>
                <a:picLocks/>
              </p:cNvPicPr>
              <p:nvPr>
                <p:custDataLst>
                  <p:tags r:id="rId20"/>
                </p:custDataLst>
              </p:nvPr>
            </p:nvPicPr>
            <p:blipFill>
              <a:blip r:embed="rId35">
                <a:extLst>
                  <a:ext uri="{28A0092B-C50C-407E-A947-70E740481C1C}">
                    <a14:useLocalDpi xmlns:a14="http://schemas.microsoft.com/office/drawing/2010/main" val="0"/>
                  </a:ext>
                </a:extLst>
              </a:blip>
              <a:stretch>
                <a:fillRect/>
              </a:stretch>
            </p:blipFill>
            <p:spPr>
              <a:xfrm>
                <a:off x="617011" y="2337425"/>
                <a:ext cx="1524392" cy="1219514"/>
              </a:xfrm>
              <a:prstGeom prst="rect">
                <a:avLst/>
              </a:prstGeom>
            </p:spPr>
          </p:pic>
          <p:pic>
            <p:nvPicPr>
              <p:cNvPr id="58" name="Picture 57">
                <a:extLst>
                  <a:ext uri="{FF2B5EF4-FFF2-40B4-BE49-F238E27FC236}">
                    <a16:creationId xmlns:a16="http://schemas.microsoft.com/office/drawing/2014/main" id="{E04126FF-D01F-4505-8092-A2E9F95CBDCA}"/>
                  </a:ext>
                </a:extLst>
              </p:cNvPr>
              <p:cNvPicPr>
                <a:picLocks/>
              </p:cNvPicPr>
              <p:nvPr>
                <p:custDataLst>
                  <p:tags r:id="rId21"/>
                </p:custDataLst>
              </p:nvPr>
            </p:nvPicPr>
            <p:blipFill>
              <a:blip r:embed="rId36">
                <a:extLst>
                  <a:ext uri="{28A0092B-C50C-407E-A947-70E740481C1C}">
                    <a14:useLocalDpi xmlns:a14="http://schemas.microsoft.com/office/drawing/2010/main" val="0"/>
                  </a:ext>
                </a:extLst>
              </a:blip>
              <a:stretch>
                <a:fillRect/>
              </a:stretch>
            </p:blipFill>
            <p:spPr>
              <a:xfrm>
                <a:off x="847500" y="2667894"/>
                <a:ext cx="1524392" cy="1219514"/>
              </a:xfrm>
              <a:prstGeom prst="rect">
                <a:avLst/>
              </a:prstGeom>
            </p:spPr>
          </p:pic>
          <p:pic>
            <p:nvPicPr>
              <p:cNvPr id="59" name="Picture 58">
                <a:extLst>
                  <a:ext uri="{FF2B5EF4-FFF2-40B4-BE49-F238E27FC236}">
                    <a16:creationId xmlns:a16="http://schemas.microsoft.com/office/drawing/2014/main" id="{F0CE7EB1-8C81-4989-8BD3-4A0253417EA5}"/>
                  </a:ext>
                </a:extLst>
              </p:cNvPr>
              <p:cNvPicPr>
                <a:picLocks/>
              </p:cNvPicPr>
              <p:nvPr>
                <p:custDataLst>
                  <p:tags r:id="rId22"/>
                </p:custDataLst>
              </p:nvPr>
            </p:nvPicPr>
            <p:blipFill>
              <a:blip r:embed="rId37">
                <a:extLst>
                  <a:ext uri="{28A0092B-C50C-407E-A947-70E740481C1C}">
                    <a14:useLocalDpi xmlns:a14="http://schemas.microsoft.com/office/drawing/2010/main" val="0"/>
                  </a:ext>
                </a:extLst>
              </a:blip>
              <a:stretch>
                <a:fillRect/>
              </a:stretch>
            </p:blipFill>
            <p:spPr>
              <a:xfrm>
                <a:off x="990346" y="2979803"/>
                <a:ext cx="1503482" cy="1045552"/>
              </a:xfrm>
              <a:prstGeom prst="rect">
                <a:avLst/>
              </a:prstGeom>
            </p:spPr>
          </p:pic>
          <p:pic>
            <p:nvPicPr>
              <p:cNvPr id="60" name="Picture 59">
                <a:extLst>
                  <a:ext uri="{FF2B5EF4-FFF2-40B4-BE49-F238E27FC236}">
                    <a16:creationId xmlns:a16="http://schemas.microsoft.com/office/drawing/2014/main" id="{86C27C06-5CEE-4EAB-BED5-888E43B48681}"/>
                  </a:ext>
                </a:extLst>
              </p:cNvPr>
              <p:cNvPicPr>
                <a:picLocks/>
              </p:cNvPicPr>
              <p:nvPr>
                <p:custDataLst>
                  <p:tags r:id="rId23"/>
                </p:custDataLst>
              </p:nvPr>
            </p:nvPicPr>
            <p:blipFill>
              <a:blip r:embed="rId38">
                <a:extLst>
                  <a:ext uri="{28A0092B-C50C-407E-A947-70E740481C1C}">
                    <a14:useLocalDpi xmlns:a14="http://schemas.microsoft.com/office/drawing/2010/main" val="0"/>
                  </a:ext>
                </a:extLst>
              </a:blip>
              <a:stretch>
                <a:fillRect/>
              </a:stretch>
            </p:blipFill>
            <p:spPr>
              <a:xfrm>
                <a:off x="1130952" y="3401409"/>
                <a:ext cx="1595241" cy="899430"/>
              </a:xfrm>
              <a:prstGeom prst="rect">
                <a:avLst/>
              </a:prstGeom>
            </p:spPr>
          </p:pic>
        </p:grpSp>
      </p:grpSp>
      <p:sp>
        <p:nvSpPr>
          <p:cNvPr id="61" name="Rectangle 60">
            <a:extLst>
              <a:ext uri="{FF2B5EF4-FFF2-40B4-BE49-F238E27FC236}">
                <a16:creationId xmlns:a16="http://schemas.microsoft.com/office/drawing/2014/main" id="{8B46F181-632A-4E0D-BC5B-CB4705BFCEBB}"/>
              </a:ext>
            </a:extLst>
          </p:cNvPr>
          <p:cNvSpPr/>
          <p:nvPr/>
        </p:nvSpPr>
        <p:spPr>
          <a:xfrm>
            <a:off x="647183" y="4901149"/>
            <a:ext cx="8636033" cy="1585049"/>
          </a:xfrm>
          <a:prstGeom prst="rect">
            <a:avLst/>
          </a:prstGeom>
        </p:spPr>
        <p:txBody>
          <a:bodyPr wrap="square">
            <a:spAutoFit/>
          </a:bodyPr>
          <a:lstStyle/>
          <a:p>
            <a:pPr marL="0" lvl="1">
              <a:spcBef>
                <a:spcPts val="556"/>
              </a:spcBef>
            </a:pPr>
            <a:r>
              <a:rPr lang="en-US" sz="1200" b="1" dirty="0">
                <a:solidFill>
                  <a:srgbClr val="7030A0"/>
                </a:solidFill>
              </a:rPr>
              <a:t>How AI solves this problem?</a:t>
            </a:r>
          </a:p>
          <a:p>
            <a:pPr marL="0" lvl="1">
              <a:spcBef>
                <a:spcPts val="556"/>
              </a:spcBef>
            </a:pPr>
            <a:r>
              <a:rPr lang="en-GB" sz="1000" kern="0" dirty="0">
                <a:solidFill>
                  <a:srgbClr val="000000"/>
                </a:solidFill>
              </a:rPr>
              <a:t>Analysis of millions of cells are performed at sub-cellular level based on </a:t>
            </a:r>
          </a:p>
          <a:p>
            <a:pPr marL="0" lvl="1">
              <a:spcBef>
                <a:spcPts val="556"/>
              </a:spcBef>
            </a:pPr>
            <a:r>
              <a:rPr lang="en-GB" sz="1000" kern="0" dirty="0">
                <a:solidFill>
                  <a:srgbClr val="000000"/>
                </a:solidFill>
              </a:rPr>
              <a:t>Size analysis, </a:t>
            </a:r>
            <a:br>
              <a:rPr lang="en-GB" sz="1000" kern="0" dirty="0">
                <a:solidFill>
                  <a:srgbClr val="000000"/>
                </a:solidFill>
              </a:rPr>
            </a:br>
            <a:r>
              <a:rPr lang="en-GB" sz="1000" kern="0" dirty="0">
                <a:solidFill>
                  <a:srgbClr val="000000"/>
                </a:solidFill>
              </a:rPr>
              <a:t>Morphological analysis, </a:t>
            </a:r>
            <a:br>
              <a:rPr lang="en-GB" sz="1000" kern="0" dirty="0">
                <a:solidFill>
                  <a:srgbClr val="000000"/>
                </a:solidFill>
              </a:rPr>
            </a:br>
            <a:r>
              <a:rPr lang="en-GB" sz="1000" kern="0" dirty="0">
                <a:solidFill>
                  <a:srgbClr val="000000"/>
                </a:solidFill>
              </a:rPr>
              <a:t>Colour analysis, </a:t>
            </a:r>
            <a:br>
              <a:rPr lang="en-GB" sz="1000" kern="0" dirty="0">
                <a:solidFill>
                  <a:srgbClr val="000000"/>
                </a:solidFill>
              </a:rPr>
            </a:br>
            <a:r>
              <a:rPr lang="en-GB" sz="1000" kern="0" dirty="0">
                <a:solidFill>
                  <a:srgbClr val="000000"/>
                </a:solidFill>
              </a:rPr>
              <a:t>Textural analysis, </a:t>
            </a:r>
            <a:br>
              <a:rPr lang="en-GB" sz="1000" kern="0" dirty="0">
                <a:solidFill>
                  <a:srgbClr val="000000"/>
                </a:solidFill>
              </a:rPr>
            </a:br>
            <a:r>
              <a:rPr lang="en-GB" sz="1000" kern="0" dirty="0">
                <a:solidFill>
                  <a:srgbClr val="000000"/>
                </a:solidFill>
              </a:rPr>
              <a:t>Count analysis</a:t>
            </a:r>
          </a:p>
          <a:p>
            <a:pPr marL="0" lvl="1">
              <a:spcBef>
                <a:spcPts val="556"/>
              </a:spcBef>
            </a:pPr>
            <a:r>
              <a:rPr lang="en-GB" sz="1000" b="1" kern="0" dirty="0">
                <a:solidFill>
                  <a:srgbClr val="7030A0"/>
                </a:solidFill>
              </a:rPr>
              <a:t>where AI plays a vital role by providing standardized and reproducibility of results</a:t>
            </a:r>
          </a:p>
        </p:txBody>
      </p:sp>
      <p:sp>
        <p:nvSpPr>
          <p:cNvPr id="62" name="TextBox 61">
            <a:extLst>
              <a:ext uri="{FF2B5EF4-FFF2-40B4-BE49-F238E27FC236}">
                <a16:creationId xmlns:a16="http://schemas.microsoft.com/office/drawing/2014/main" id="{8932CB22-5D01-4401-921B-CF862BF12D5C}"/>
              </a:ext>
            </a:extLst>
          </p:cNvPr>
          <p:cNvSpPr txBox="1"/>
          <p:nvPr>
            <p:custDataLst>
              <p:tags r:id="rId6"/>
            </p:custDataLst>
          </p:nvPr>
        </p:nvSpPr>
        <p:spPr>
          <a:xfrm>
            <a:off x="6568596" y="5512831"/>
            <a:ext cx="5472525" cy="747605"/>
          </a:xfrm>
          <a:prstGeom prst="rect">
            <a:avLst/>
          </a:prstGeom>
          <a:noFill/>
        </p:spPr>
        <p:txBody>
          <a:bodyPr wrap="square" lIns="0" tIns="0" rIns="0" bIns="0" rtlCol="0">
            <a:noAutofit/>
          </a:bodyPr>
          <a:lstStyle/>
          <a:p>
            <a:pPr defTabSz="1016190">
              <a:spcBef>
                <a:spcPts val="556"/>
              </a:spcBef>
            </a:pPr>
            <a:r>
              <a:rPr lang="en-GB" sz="1600" b="1" kern="0" dirty="0">
                <a:solidFill>
                  <a:srgbClr val="7030A0"/>
                </a:solidFill>
              </a:rPr>
              <a:t>Machine Learning and AI methods help in analysing millions of cell at submicron level</a:t>
            </a:r>
          </a:p>
        </p:txBody>
      </p:sp>
      <p:grpSp>
        <p:nvGrpSpPr>
          <p:cNvPr id="63" name="Group 62"/>
          <p:cNvGrpSpPr/>
          <p:nvPr/>
        </p:nvGrpSpPr>
        <p:grpSpPr>
          <a:xfrm>
            <a:off x="9212882" y="2096502"/>
            <a:ext cx="3319785" cy="2599580"/>
            <a:chOff x="9212982" y="2096458"/>
            <a:chExt cx="3319892" cy="2599663"/>
          </a:xfrm>
        </p:grpSpPr>
        <p:sp>
          <p:nvSpPr>
            <p:cNvPr id="64" name="Rectangle 63">
              <a:extLst>
                <a:ext uri="{FF2B5EF4-FFF2-40B4-BE49-F238E27FC236}">
                  <a16:creationId xmlns:a16="http://schemas.microsoft.com/office/drawing/2014/main" id="{43D4BD28-6524-4E12-A94D-00F1CCFCBFF7}"/>
                </a:ext>
              </a:extLst>
            </p:cNvPr>
            <p:cNvSpPr/>
            <p:nvPr>
              <p:custDataLst>
                <p:tags r:id="rId9"/>
              </p:custDataLst>
            </p:nvPr>
          </p:nvSpPr>
          <p:spPr>
            <a:xfrm>
              <a:off x="9680646" y="2231494"/>
              <a:ext cx="2706143" cy="256681"/>
            </a:xfrm>
            <a:prstGeom prst="rect">
              <a:avLst/>
            </a:prstGeom>
          </p:spPr>
          <p:txBody>
            <a:bodyPr wrap="square">
              <a:spAutoFit/>
            </a:bodyPr>
            <a:lstStyle/>
            <a:p>
              <a:pPr>
                <a:lnSpc>
                  <a:spcPct val="89000"/>
                </a:lnSpc>
              </a:pPr>
              <a:r>
                <a:rPr lang="en-GB" sz="1200" dirty="0"/>
                <a:t>Manage scale of users</a:t>
              </a:r>
            </a:p>
          </p:txBody>
        </p:sp>
        <p:sp>
          <p:nvSpPr>
            <p:cNvPr id="65" name="Rectangle 64">
              <a:extLst>
                <a:ext uri="{FF2B5EF4-FFF2-40B4-BE49-F238E27FC236}">
                  <a16:creationId xmlns:a16="http://schemas.microsoft.com/office/drawing/2014/main" id="{26C9515C-08CB-4AEB-A262-8C354D79DC62}"/>
                </a:ext>
              </a:extLst>
            </p:cNvPr>
            <p:cNvSpPr/>
            <p:nvPr>
              <p:custDataLst>
                <p:tags r:id="rId10"/>
              </p:custDataLst>
            </p:nvPr>
          </p:nvSpPr>
          <p:spPr>
            <a:xfrm>
              <a:off x="9676700" y="3323417"/>
              <a:ext cx="2831981" cy="256681"/>
            </a:xfrm>
            <a:prstGeom prst="rect">
              <a:avLst/>
            </a:prstGeom>
          </p:spPr>
          <p:txBody>
            <a:bodyPr wrap="square">
              <a:spAutoFit/>
            </a:bodyPr>
            <a:lstStyle/>
            <a:p>
              <a:pPr>
                <a:lnSpc>
                  <a:spcPct val="89000"/>
                </a:lnSpc>
              </a:pPr>
              <a:r>
                <a:rPr lang="en-GB" sz="1200" dirty="0"/>
                <a:t>Reduce manual errors</a:t>
              </a:r>
            </a:p>
          </p:txBody>
        </p:sp>
        <p:sp>
          <p:nvSpPr>
            <p:cNvPr id="66" name="Rectangle 65">
              <a:extLst>
                <a:ext uri="{FF2B5EF4-FFF2-40B4-BE49-F238E27FC236}">
                  <a16:creationId xmlns:a16="http://schemas.microsoft.com/office/drawing/2014/main" id="{9BD96DC4-96AE-4191-998F-441B5DDB3664}"/>
                </a:ext>
              </a:extLst>
            </p:cNvPr>
            <p:cNvSpPr/>
            <p:nvPr>
              <p:custDataLst>
                <p:tags r:id="rId11"/>
              </p:custDataLst>
            </p:nvPr>
          </p:nvSpPr>
          <p:spPr>
            <a:xfrm>
              <a:off x="9700893" y="4408230"/>
              <a:ext cx="2831981" cy="256681"/>
            </a:xfrm>
            <a:prstGeom prst="rect">
              <a:avLst/>
            </a:prstGeom>
          </p:spPr>
          <p:txBody>
            <a:bodyPr wrap="square">
              <a:spAutoFit/>
            </a:bodyPr>
            <a:lstStyle/>
            <a:p>
              <a:pPr>
                <a:lnSpc>
                  <a:spcPct val="89000"/>
                </a:lnSpc>
              </a:pPr>
              <a:r>
                <a:rPr lang="en-GB" sz="1200" dirty="0"/>
                <a:t>Enable digital healthcare</a:t>
              </a:r>
            </a:p>
          </p:txBody>
        </p:sp>
        <p:sp>
          <p:nvSpPr>
            <p:cNvPr id="67" name="Rectangle 66">
              <a:extLst>
                <a:ext uri="{FF2B5EF4-FFF2-40B4-BE49-F238E27FC236}">
                  <a16:creationId xmlns:a16="http://schemas.microsoft.com/office/drawing/2014/main" id="{64ED0A78-ABA5-48F3-A9C0-BDF15C1748DF}"/>
                </a:ext>
              </a:extLst>
            </p:cNvPr>
            <p:cNvSpPr/>
            <p:nvPr>
              <p:custDataLst>
                <p:tags r:id="rId12"/>
              </p:custDataLst>
            </p:nvPr>
          </p:nvSpPr>
          <p:spPr>
            <a:xfrm>
              <a:off x="9673638" y="2784002"/>
              <a:ext cx="2367673" cy="256681"/>
            </a:xfrm>
            <a:prstGeom prst="rect">
              <a:avLst/>
            </a:prstGeom>
          </p:spPr>
          <p:txBody>
            <a:bodyPr wrap="square">
              <a:spAutoFit/>
            </a:bodyPr>
            <a:lstStyle/>
            <a:p>
              <a:pPr>
                <a:lnSpc>
                  <a:spcPct val="89000"/>
                </a:lnSpc>
              </a:pPr>
              <a:r>
                <a:rPr lang="en-GB" sz="1200" dirty="0"/>
                <a:t>Reduce the demand for experts</a:t>
              </a:r>
            </a:p>
          </p:txBody>
        </p:sp>
        <p:sp>
          <p:nvSpPr>
            <p:cNvPr id="68" name="Rectangle 67">
              <a:extLst>
                <a:ext uri="{FF2B5EF4-FFF2-40B4-BE49-F238E27FC236}">
                  <a16:creationId xmlns:a16="http://schemas.microsoft.com/office/drawing/2014/main" id="{66C1F84B-722E-4B92-A854-79B7518B1F75}"/>
                </a:ext>
              </a:extLst>
            </p:cNvPr>
            <p:cNvSpPr/>
            <p:nvPr>
              <p:custDataLst>
                <p:tags r:id="rId13"/>
              </p:custDataLst>
            </p:nvPr>
          </p:nvSpPr>
          <p:spPr>
            <a:xfrm>
              <a:off x="9691192" y="3817939"/>
              <a:ext cx="2185960" cy="256681"/>
            </a:xfrm>
            <a:prstGeom prst="rect">
              <a:avLst/>
            </a:prstGeom>
          </p:spPr>
          <p:txBody>
            <a:bodyPr wrap="square">
              <a:spAutoFit/>
            </a:bodyPr>
            <a:lstStyle/>
            <a:p>
              <a:pPr>
                <a:lnSpc>
                  <a:spcPct val="89000"/>
                </a:lnSpc>
              </a:pPr>
              <a:r>
                <a:rPr lang="en-GB" sz="1200" dirty="0"/>
                <a:t>Improved turn around time</a:t>
              </a:r>
            </a:p>
          </p:txBody>
        </p:sp>
        <p:pic>
          <p:nvPicPr>
            <p:cNvPr id="100" name="Picture 99" descr="A close up of a sign&#10;&#10;Description automatically generated">
              <a:extLst>
                <a:ext uri="{FF2B5EF4-FFF2-40B4-BE49-F238E27FC236}">
                  <a16:creationId xmlns:a16="http://schemas.microsoft.com/office/drawing/2014/main" id="{63150F17-3FA2-452D-8F6A-64F3BACEF61F}"/>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283318" y="4306696"/>
              <a:ext cx="434479" cy="389425"/>
            </a:xfrm>
            <a:prstGeom prst="rect">
              <a:avLst/>
            </a:prstGeom>
          </p:spPr>
        </p:pic>
        <p:pic>
          <p:nvPicPr>
            <p:cNvPr id="101" name="Picture 100">
              <a:extLst>
                <a:ext uri="{FF2B5EF4-FFF2-40B4-BE49-F238E27FC236}">
                  <a16:creationId xmlns:a16="http://schemas.microsoft.com/office/drawing/2014/main" id="{1D7A4257-A7FE-441A-BFC9-C305AA5C2CA4}"/>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233078" y="2663659"/>
              <a:ext cx="400003" cy="421013"/>
            </a:xfrm>
            <a:prstGeom prst="rect">
              <a:avLst/>
            </a:prstGeom>
          </p:spPr>
        </p:pic>
        <p:pic>
          <p:nvPicPr>
            <p:cNvPr id="102" name="Picture 101">
              <a:extLst>
                <a:ext uri="{FF2B5EF4-FFF2-40B4-BE49-F238E27FC236}">
                  <a16:creationId xmlns:a16="http://schemas.microsoft.com/office/drawing/2014/main" id="{11BDA515-91D5-4F59-ACE8-1E4337CF6C99}"/>
                </a:ext>
              </a:extLst>
            </p:cNvPr>
            <p:cNvPicPr>
              <a:picLocks noChangeAspect="1"/>
            </p:cNvPicPr>
            <p:nvPr/>
          </p:nvPicPr>
          <p:blipFill rotWithShape="1">
            <a:blip r:embed="rId41" cstate="print">
              <a:extLst>
                <a:ext uri="{28A0092B-C50C-407E-A947-70E740481C1C}">
                  <a14:useLocalDpi xmlns:a14="http://schemas.microsoft.com/office/drawing/2010/main" val="0"/>
                </a:ext>
              </a:extLst>
            </a:blip>
            <a:srcRect l="60161" r="25597"/>
            <a:stretch/>
          </p:blipFill>
          <p:spPr>
            <a:xfrm>
              <a:off x="9233078" y="2096458"/>
              <a:ext cx="400004" cy="512223"/>
            </a:xfrm>
            <a:prstGeom prst="rect">
              <a:avLst/>
            </a:prstGeom>
          </p:spPr>
        </p:pic>
        <p:pic>
          <p:nvPicPr>
            <p:cNvPr id="103" name="Picture 102">
              <a:extLst>
                <a:ext uri="{FF2B5EF4-FFF2-40B4-BE49-F238E27FC236}">
                  <a16:creationId xmlns:a16="http://schemas.microsoft.com/office/drawing/2014/main" id="{494BBC3B-F6EE-4E75-B925-18510E59848C}"/>
                </a:ext>
              </a:extLst>
            </p:cNvPr>
            <p:cNvPicPr>
              <a:picLocks noChangeAspect="1"/>
            </p:cNvPicPr>
            <p:nvPr/>
          </p:nvPicPr>
          <p:blipFill rotWithShape="1">
            <a:blip r:embed="rId42" cstate="print">
              <a:extLst>
                <a:ext uri="{28A0092B-C50C-407E-A947-70E740481C1C}">
                  <a14:useLocalDpi xmlns:a14="http://schemas.microsoft.com/office/drawing/2010/main" val="0"/>
                </a:ext>
              </a:extLst>
            </a:blip>
            <a:srcRect l="1167" t="15679" r="80245" b="13347"/>
            <a:stretch/>
          </p:blipFill>
          <p:spPr>
            <a:xfrm>
              <a:off x="9212982" y="3791975"/>
              <a:ext cx="522031" cy="363543"/>
            </a:xfrm>
            <a:prstGeom prst="rect">
              <a:avLst/>
            </a:prstGeom>
          </p:spPr>
        </p:pic>
        <p:pic>
          <p:nvPicPr>
            <p:cNvPr id="104" name="Picture 103" descr="A drawing of a cartoon character&#10;&#10;Description automatically generated">
              <a:extLst>
                <a:ext uri="{FF2B5EF4-FFF2-40B4-BE49-F238E27FC236}">
                  <a16:creationId xmlns:a16="http://schemas.microsoft.com/office/drawing/2014/main" id="{37633A88-1F8C-494C-B1B8-45E2D5823AEF}"/>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9233078" y="3182560"/>
              <a:ext cx="458209" cy="474267"/>
            </a:xfrm>
            <a:prstGeom prst="rect">
              <a:avLst/>
            </a:prstGeom>
          </p:spPr>
        </p:pic>
      </p:grpSp>
      <p:pic>
        <p:nvPicPr>
          <p:cNvPr id="105" name="Picture 104"/>
          <p:cNvPicPr>
            <a:picLocks/>
          </p:cNvPicPr>
          <p:nvPr>
            <p:custDataLst>
              <p:tags r:id="rId7"/>
            </p:custDataLst>
          </p:nvPr>
        </p:nvPicPr>
        <p:blipFill>
          <a:blip r:embed="rId44"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06" name="Picture 105"/>
          <p:cNvPicPr>
            <a:picLocks/>
          </p:cNvPicPr>
          <p:nvPr>
            <p:custDataLst>
              <p:tags r:id="rId8"/>
            </p:custDataLst>
          </p:nvPr>
        </p:nvPicPr>
        <p:blipFill>
          <a:blip r:embed="rId45">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36970456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smtClean="0"/>
              <a:t>Big Data and Artificial Intelligence</a:t>
            </a:r>
            <a:endParaRPr lang="en-US" sz="3112" kern="0" dirty="0"/>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a:spLocks/>
          </p:cNvSpPr>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Application in Diabetic Retinopathy</a:t>
            </a:r>
            <a:endParaRPr lang="en-US" sz="3112" dirty="0">
              <a:solidFill>
                <a:srgbClr val="08427E"/>
              </a:solidFill>
            </a:endParaRPr>
          </a:p>
        </p:txBody>
      </p:sp>
      <p:pic>
        <p:nvPicPr>
          <p:cNvPr id="120" name="Picture 119"/>
          <p:cNvPicPr>
            <a:picLocks/>
          </p:cNvPicPr>
          <p:nvPr>
            <p:custDataLst>
              <p:tags r:id="rId6"/>
            </p:custDataLst>
          </p:nvPr>
        </p:nvPicPr>
        <p:blipFill>
          <a:blip r:embed="rId39"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21" name="Picture 120"/>
          <p:cNvPicPr>
            <a:picLocks/>
          </p:cNvPicPr>
          <p:nvPr>
            <p:custDataLst>
              <p:tags r:id="rId7"/>
            </p:custDataLst>
          </p:nvPr>
        </p:nvPicPr>
        <p:blipFill>
          <a:blip r:embed="rId40">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54" name="TextBox 53"/>
          <p:cNvSpPr txBox="1"/>
          <p:nvPr>
            <p:custDataLst>
              <p:tags r:id="rId8"/>
            </p:custDataLst>
          </p:nvPr>
        </p:nvSpPr>
        <p:spPr>
          <a:xfrm>
            <a:off x="-195960" y="1561109"/>
            <a:ext cx="50812" cy="50812"/>
          </a:xfrm>
          <a:prstGeom prst="rect">
            <a:avLst/>
          </a:prstGeom>
          <a:noFill/>
        </p:spPr>
        <p:txBody>
          <a:bodyPr wrap="square" lIns="0" tIns="0" rIns="0" bIns="0" rtlCol="0">
            <a:noAutofit/>
          </a:bodyPr>
          <a:lstStyle/>
          <a:p>
            <a:pPr marL="280073" indent="-280073">
              <a:lnSpc>
                <a:spcPts val="2556"/>
              </a:lnSpc>
              <a:spcBef>
                <a:spcPts val="556"/>
              </a:spcBef>
            </a:pPr>
            <a:endParaRPr lang="de-DE" sz="2001" dirty="0"/>
          </a:p>
        </p:txBody>
      </p:sp>
      <p:pic>
        <p:nvPicPr>
          <p:cNvPr id="55" name="Picture 1" descr="image001"/>
          <p:cNvPicPr>
            <a:picLocks noChangeAspect="1" noChangeArrowheads="1"/>
          </p:cNvPicPr>
          <p:nvPr>
            <p:custDataLst>
              <p:tags r:id="rId9"/>
            </p:custDataLst>
          </p:nvPr>
        </p:nvPicPr>
        <p:blipFill rotWithShape="1">
          <a:blip r:embed="rId41" cstate="email">
            <a:extLst>
              <a:ext uri="{28A0092B-C50C-407E-A947-70E740481C1C}">
                <a14:useLocalDpi xmlns:a14="http://schemas.microsoft.com/office/drawing/2010/main"/>
              </a:ext>
            </a:extLst>
          </a:blip>
          <a:srcRect/>
          <a:stretch/>
        </p:blipFill>
        <p:spPr bwMode="auto">
          <a:xfrm>
            <a:off x="6486887" y="2725532"/>
            <a:ext cx="1747118" cy="165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Richtungspfeil 34"/>
          <p:cNvSpPr/>
          <p:nvPr>
            <p:custDataLst>
              <p:tags r:id="rId10"/>
            </p:custDataLst>
          </p:nvPr>
        </p:nvSpPr>
        <p:spPr>
          <a:xfrm>
            <a:off x="257895" y="2815990"/>
            <a:ext cx="1541201" cy="1330807"/>
          </a:xfrm>
          <a:prstGeom prst="homePlate">
            <a:avLst>
              <a:gd name="adj" fmla="val 17675"/>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23" dirty="0">
                <a:solidFill>
                  <a:schemeClr val="bg1"/>
                </a:solidFill>
              </a:rPr>
              <a:t>Take image with fundus camera and send it into cloud</a:t>
            </a:r>
          </a:p>
        </p:txBody>
      </p:sp>
      <p:sp>
        <p:nvSpPr>
          <p:cNvPr id="57" name="Eingekerbter Richtungspfeil 35"/>
          <p:cNvSpPr/>
          <p:nvPr>
            <p:custDataLst>
              <p:tags r:id="rId11"/>
            </p:custDataLst>
          </p:nvPr>
        </p:nvSpPr>
        <p:spPr>
          <a:xfrm>
            <a:off x="1495386" y="2815526"/>
            <a:ext cx="1902069" cy="1331271"/>
          </a:xfrm>
          <a:prstGeom prst="chevron">
            <a:avLst>
              <a:gd name="adj" fmla="val 13833"/>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23" dirty="0">
                <a:solidFill>
                  <a:schemeClr val="bg1"/>
                </a:solidFill>
              </a:rPr>
              <a:t>Image preparation and processing of algorithms in cloud</a:t>
            </a:r>
          </a:p>
        </p:txBody>
      </p:sp>
      <p:sp>
        <p:nvSpPr>
          <p:cNvPr id="58" name="Eingekerbter Richtungspfeil 36"/>
          <p:cNvSpPr/>
          <p:nvPr>
            <p:custDataLst>
              <p:tags r:id="rId12"/>
            </p:custDataLst>
          </p:nvPr>
        </p:nvSpPr>
        <p:spPr>
          <a:xfrm>
            <a:off x="3217432" y="2815524"/>
            <a:ext cx="1745427" cy="1331274"/>
          </a:xfrm>
          <a:prstGeom prst="chevron">
            <a:avLst>
              <a:gd name="adj" fmla="val 15602"/>
            </a:avLst>
          </a:prstGeom>
          <a:solidFill>
            <a:schemeClr val="accent5">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23" dirty="0">
                <a:solidFill>
                  <a:schemeClr val="bg1"/>
                </a:solidFill>
              </a:rPr>
              <a:t>Classifi-cation into three classes in cloud</a:t>
            </a:r>
          </a:p>
          <a:p>
            <a:pPr algn="ctr"/>
            <a:endParaRPr lang="en-US" sz="1223" dirty="0">
              <a:solidFill>
                <a:schemeClr val="bg1"/>
              </a:solidFill>
            </a:endParaRPr>
          </a:p>
        </p:txBody>
      </p:sp>
      <p:sp>
        <p:nvSpPr>
          <p:cNvPr id="59" name="Eingekerbter Richtungspfeil 37"/>
          <p:cNvSpPr/>
          <p:nvPr>
            <p:custDataLst>
              <p:tags r:id="rId13"/>
            </p:custDataLst>
          </p:nvPr>
        </p:nvSpPr>
        <p:spPr>
          <a:xfrm>
            <a:off x="4647338" y="2810882"/>
            <a:ext cx="1497786" cy="1335915"/>
          </a:xfrm>
          <a:prstGeom prst="chevron">
            <a:avLst>
              <a:gd name="adj" fmla="val 17793"/>
            </a:avLst>
          </a:prstGeom>
          <a:solidFill>
            <a:schemeClr val="accent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23" dirty="0">
                <a:solidFill>
                  <a:schemeClr val="bg1"/>
                </a:solidFill>
              </a:rPr>
              <a:t>Mark regions of interest for the conditi-ons</a:t>
            </a:r>
          </a:p>
        </p:txBody>
      </p:sp>
      <p:sp>
        <p:nvSpPr>
          <p:cNvPr id="60" name="Textfeld 42"/>
          <p:cNvSpPr txBox="1"/>
          <p:nvPr>
            <p:custDataLst>
              <p:tags r:id="rId14"/>
            </p:custDataLst>
          </p:nvPr>
        </p:nvSpPr>
        <p:spPr>
          <a:xfrm>
            <a:off x="288138" y="5817941"/>
            <a:ext cx="8190706" cy="336854"/>
          </a:xfrm>
          <a:prstGeom prst="rect">
            <a:avLst/>
          </a:prstGeom>
          <a:noFill/>
          <a:ln>
            <a:solidFill>
              <a:schemeClr val="accent3"/>
            </a:solidFill>
          </a:ln>
        </p:spPr>
        <p:txBody>
          <a:bodyPr wrap="none" lIns="0" tIns="0" rIns="0" bIns="0" rtlCol="0" anchor="ctr" anchorCtr="0">
            <a:noAutofit/>
          </a:bodyPr>
          <a:lstStyle/>
          <a:p>
            <a:pPr marL="402271" indent="-306996">
              <a:buFont typeface="Wingdings 3" panose="05040102010807070707" pitchFamily="18" charset="2"/>
              <a:buChar char=""/>
            </a:pPr>
            <a:r>
              <a:rPr lang="en-US" sz="1556" dirty="0"/>
              <a:t>Current status of sensitivity &gt;90%, variability in image quality still challenging</a:t>
            </a:r>
          </a:p>
        </p:txBody>
      </p:sp>
      <p:sp>
        <p:nvSpPr>
          <p:cNvPr id="61" name="TextBox 78"/>
          <p:cNvSpPr txBox="1"/>
          <p:nvPr>
            <p:custDataLst>
              <p:tags r:id="rId15"/>
            </p:custDataLst>
          </p:nvPr>
        </p:nvSpPr>
        <p:spPr>
          <a:xfrm>
            <a:off x="257894" y="4195013"/>
            <a:ext cx="5672576" cy="336874"/>
          </a:xfrm>
          <a:prstGeom prst="rect">
            <a:avLst/>
          </a:prstGeom>
          <a:solidFill>
            <a:schemeClr val="accent3"/>
          </a:solidFill>
          <a:ln>
            <a:solidFill>
              <a:schemeClr val="accent3"/>
            </a:solidFill>
          </a:ln>
        </p:spPr>
        <p:txBody>
          <a:bodyPr wrap="square" rtlCol="0">
            <a:noAutofit/>
          </a:bodyPr>
          <a:lstStyle/>
          <a:p>
            <a:pPr algn="ctr"/>
            <a:r>
              <a:rPr lang="fi-FI" sz="1556" b="1" dirty="0">
                <a:solidFill>
                  <a:schemeClr val="bg1"/>
                </a:solidFill>
              </a:rPr>
              <a:t>Algorithm approach</a:t>
            </a:r>
          </a:p>
        </p:txBody>
      </p:sp>
      <p:sp>
        <p:nvSpPr>
          <p:cNvPr id="62" name="TextBox 78_"/>
          <p:cNvSpPr txBox="1"/>
          <p:nvPr>
            <p:custDataLst>
              <p:tags r:id="rId16"/>
            </p:custDataLst>
          </p:nvPr>
        </p:nvSpPr>
        <p:spPr>
          <a:xfrm>
            <a:off x="257895" y="4531887"/>
            <a:ext cx="5672575" cy="1163011"/>
          </a:xfrm>
          <a:prstGeom prst="rect">
            <a:avLst/>
          </a:prstGeom>
          <a:noFill/>
          <a:ln>
            <a:solidFill>
              <a:schemeClr val="accent3"/>
            </a:solidFill>
          </a:ln>
        </p:spPr>
        <p:txBody>
          <a:bodyPr wrap="square" rtlCol="0" anchor="ctr">
            <a:noAutofit/>
          </a:bodyPr>
          <a:lstStyle/>
          <a:p>
            <a:pPr marL="317583" indent="-317583">
              <a:buFont typeface="Wingdings 3" panose="05040102010807070707" pitchFamily="18" charset="2"/>
              <a:buChar char=""/>
            </a:pPr>
            <a:r>
              <a:rPr lang="fi-FI" sz="1500" dirty="0"/>
              <a:t>Leverage of RB-competencies in deep learning algorithms</a:t>
            </a:r>
          </a:p>
          <a:p>
            <a:pPr marL="317583" indent="-317583">
              <a:buFont typeface="Wingdings 3" panose="05040102010807070707" pitchFamily="18" charset="2"/>
              <a:buChar char=""/>
            </a:pPr>
            <a:r>
              <a:rPr lang="en-US" sz="1500" dirty="0"/>
              <a:t>100,000 images with Bosch repository focused on improving algorithm performance</a:t>
            </a:r>
          </a:p>
          <a:p>
            <a:pPr marL="317583" indent="-317583">
              <a:buFont typeface="Wingdings 3" panose="05040102010807070707" pitchFamily="18" charset="2"/>
              <a:buChar char=""/>
            </a:pPr>
            <a:r>
              <a:rPr lang="en-US" sz="1500" dirty="0"/>
              <a:t>Clinical trials completed and status published</a:t>
            </a:r>
            <a:r>
              <a:rPr lang="en-US" sz="1556" dirty="0"/>
              <a:t> (</a:t>
            </a:r>
            <a:r>
              <a:rPr lang="en-US" sz="1556" u="sng" dirty="0">
                <a:hlinkClick r:id="rId42"/>
              </a:rPr>
              <a:t>link</a:t>
            </a:r>
            <a:r>
              <a:rPr lang="en-US" sz="1556" dirty="0"/>
              <a:t>)</a:t>
            </a:r>
          </a:p>
          <a:p>
            <a:pPr marL="317583" indent="-317583">
              <a:buFont typeface="Wingdings 3" panose="05040102010807070707" pitchFamily="18" charset="2"/>
              <a:buChar char=""/>
            </a:pPr>
            <a:r>
              <a:rPr lang="en-US" sz="1500" dirty="0"/>
              <a:t>Benchmarking with existing Start-ups to assure leadership</a:t>
            </a:r>
          </a:p>
        </p:txBody>
      </p:sp>
      <p:sp>
        <p:nvSpPr>
          <p:cNvPr id="63" name="TextBox 78__"/>
          <p:cNvSpPr txBox="1"/>
          <p:nvPr>
            <p:custDataLst>
              <p:tags r:id="rId17"/>
            </p:custDataLst>
          </p:nvPr>
        </p:nvSpPr>
        <p:spPr>
          <a:xfrm>
            <a:off x="6201264" y="4195013"/>
            <a:ext cx="2265336" cy="331757"/>
          </a:xfrm>
          <a:prstGeom prst="rect">
            <a:avLst/>
          </a:prstGeom>
          <a:solidFill>
            <a:schemeClr val="accent3"/>
          </a:solidFill>
          <a:ln>
            <a:solidFill>
              <a:schemeClr val="accent3"/>
            </a:solidFill>
          </a:ln>
        </p:spPr>
        <p:txBody>
          <a:bodyPr wrap="square" rtlCol="0">
            <a:spAutoFit/>
          </a:bodyPr>
          <a:lstStyle/>
          <a:p>
            <a:pPr algn="ctr"/>
            <a:r>
              <a:rPr lang="fi-FI" sz="1556" b="1" dirty="0">
                <a:solidFill>
                  <a:schemeClr val="bg1"/>
                </a:solidFill>
              </a:rPr>
              <a:t>Algorithms</a:t>
            </a:r>
          </a:p>
        </p:txBody>
      </p:sp>
      <p:sp>
        <p:nvSpPr>
          <p:cNvPr id="64" name="TextBox 78___"/>
          <p:cNvSpPr txBox="1"/>
          <p:nvPr>
            <p:custDataLst>
              <p:tags r:id="rId18"/>
            </p:custDataLst>
          </p:nvPr>
        </p:nvSpPr>
        <p:spPr>
          <a:xfrm>
            <a:off x="6201266" y="4502102"/>
            <a:ext cx="2263832" cy="1152495"/>
          </a:xfrm>
          <a:prstGeom prst="rect">
            <a:avLst/>
          </a:prstGeom>
          <a:noFill/>
          <a:ln>
            <a:solidFill>
              <a:schemeClr val="accent3"/>
            </a:solidFill>
          </a:ln>
        </p:spPr>
        <p:txBody>
          <a:bodyPr wrap="square" rtlCol="0" anchor="ctr">
            <a:spAutoFit/>
          </a:bodyPr>
          <a:lstStyle/>
          <a:p>
            <a:pPr marL="317583" indent="-317583">
              <a:buFont typeface="Wingdings 3" panose="05040102010807070707" pitchFamily="18" charset="2"/>
              <a:buChar char=""/>
            </a:pPr>
            <a:r>
              <a:rPr lang="fi-FI" sz="1556" dirty="0"/>
              <a:t>Diabetic retinopathy</a:t>
            </a:r>
          </a:p>
          <a:p>
            <a:pPr marL="317583" indent="-317583">
              <a:buFont typeface="Wingdings 3" panose="05040102010807070707" pitchFamily="18" charset="2"/>
              <a:buChar char=""/>
            </a:pPr>
            <a:r>
              <a:rPr lang="en-US" sz="1556" dirty="0"/>
              <a:t>Glaucoma</a:t>
            </a:r>
          </a:p>
          <a:p>
            <a:pPr marL="317583" indent="-317583">
              <a:buFont typeface="Wingdings 3" panose="05040102010807070707" pitchFamily="18" charset="2"/>
              <a:buChar char=""/>
            </a:pPr>
            <a:r>
              <a:rPr lang="en-US" sz="1556" dirty="0"/>
              <a:t>Dry Eye condition </a:t>
            </a:r>
            <a:r>
              <a:rPr lang="en-US" sz="1111" dirty="0"/>
              <a:t>(Interpretation of oil secreting glands in eye lid)</a:t>
            </a:r>
          </a:p>
        </p:txBody>
      </p:sp>
      <p:sp>
        <p:nvSpPr>
          <p:cNvPr id="65" name="TextBox 78____"/>
          <p:cNvSpPr txBox="1"/>
          <p:nvPr>
            <p:custDataLst>
              <p:tags r:id="rId19"/>
            </p:custDataLst>
          </p:nvPr>
        </p:nvSpPr>
        <p:spPr>
          <a:xfrm>
            <a:off x="8579753" y="3080792"/>
            <a:ext cx="3459076" cy="331757"/>
          </a:xfrm>
          <a:prstGeom prst="rect">
            <a:avLst/>
          </a:prstGeom>
          <a:solidFill>
            <a:schemeClr val="accent3"/>
          </a:solidFill>
          <a:ln>
            <a:solidFill>
              <a:schemeClr val="accent3"/>
            </a:solidFill>
          </a:ln>
        </p:spPr>
        <p:txBody>
          <a:bodyPr wrap="square" rtlCol="0">
            <a:spAutoFit/>
          </a:bodyPr>
          <a:lstStyle/>
          <a:p>
            <a:pPr algn="ctr"/>
            <a:r>
              <a:rPr lang="fi-FI" sz="1556" b="1" dirty="0">
                <a:solidFill>
                  <a:schemeClr val="bg1"/>
                </a:solidFill>
              </a:rPr>
              <a:t>Key benefits</a:t>
            </a:r>
          </a:p>
        </p:txBody>
      </p:sp>
      <p:sp>
        <p:nvSpPr>
          <p:cNvPr id="66" name="Rectangle 65"/>
          <p:cNvSpPr/>
          <p:nvPr>
            <p:custDataLst>
              <p:tags r:id="rId20"/>
            </p:custDataLst>
          </p:nvPr>
        </p:nvSpPr>
        <p:spPr>
          <a:xfrm>
            <a:off x="9059807" y="3612780"/>
            <a:ext cx="2865755" cy="290272"/>
          </a:xfrm>
          <a:prstGeom prst="rect">
            <a:avLst/>
          </a:prstGeom>
        </p:spPr>
        <p:txBody>
          <a:bodyPr wrap="square">
            <a:spAutoFit/>
          </a:bodyPr>
          <a:lstStyle/>
          <a:p>
            <a:pPr>
              <a:lnSpc>
                <a:spcPct val="89000"/>
              </a:lnSpc>
            </a:pPr>
            <a:r>
              <a:rPr lang="en-GB" sz="1445" b="1" dirty="0">
                <a:solidFill>
                  <a:schemeClr val="accent3"/>
                </a:solidFill>
              </a:rPr>
              <a:t>Manage scale of users</a:t>
            </a:r>
          </a:p>
        </p:txBody>
      </p:sp>
      <p:pic>
        <p:nvPicPr>
          <p:cNvPr id="67" name="Picture 10" descr="Image result for scalable icon"/>
          <p:cNvPicPr>
            <a:picLocks noChangeAspect="1" noChangeArrowheads="1"/>
          </p:cNvPicPr>
          <p:nvPr>
            <p:custDataLst>
              <p:tags r:id="rId21"/>
            </p:custDataLst>
          </p:nvPr>
        </p:nvPicPr>
        <p:blipFill>
          <a:blip r:embed="rId43" cstate="email">
            <a:extLst>
              <a:ext uri="{28A0092B-C50C-407E-A947-70E740481C1C}">
                <a14:useLocalDpi xmlns:a14="http://schemas.microsoft.com/office/drawing/2010/main"/>
              </a:ext>
            </a:extLst>
          </a:blip>
          <a:srcRect/>
          <a:stretch>
            <a:fillRect/>
          </a:stretch>
        </p:blipFill>
        <p:spPr bwMode="auto">
          <a:xfrm>
            <a:off x="8654429" y="3603093"/>
            <a:ext cx="328873" cy="32887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____" descr="Image result for doctor icon"/>
          <p:cNvPicPr>
            <a:picLocks noChangeAspect="1" noChangeArrowheads="1"/>
          </p:cNvPicPr>
          <p:nvPr>
            <p:custDataLst>
              <p:tags r:id="rId22"/>
            </p:custDataLst>
          </p:nvPr>
        </p:nvPicPr>
        <p:blipFill>
          <a:blip r:embed="rId4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660128" y="4093526"/>
            <a:ext cx="339810" cy="393700"/>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p:cNvSpPr/>
          <p:nvPr>
            <p:custDataLst>
              <p:tags r:id="rId23"/>
            </p:custDataLst>
          </p:nvPr>
        </p:nvSpPr>
        <p:spPr>
          <a:xfrm>
            <a:off x="9052385" y="4143273"/>
            <a:ext cx="2999015" cy="290272"/>
          </a:xfrm>
          <a:prstGeom prst="rect">
            <a:avLst/>
          </a:prstGeom>
        </p:spPr>
        <p:txBody>
          <a:bodyPr wrap="square">
            <a:spAutoFit/>
          </a:bodyPr>
          <a:lstStyle/>
          <a:p>
            <a:pPr>
              <a:lnSpc>
                <a:spcPct val="89000"/>
              </a:lnSpc>
            </a:pPr>
            <a:r>
              <a:rPr lang="en-GB" sz="1445" b="1" dirty="0">
                <a:solidFill>
                  <a:schemeClr val="accent3"/>
                </a:solidFill>
              </a:rPr>
              <a:t>Reduce the demand for experts</a:t>
            </a:r>
          </a:p>
        </p:txBody>
      </p:sp>
      <p:pic>
        <p:nvPicPr>
          <p:cNvPr id="101" name="Picture 2" descr="Image result for reduce icon"/>
          <p:cNvPicPr>
            <a:picLocks noChangeAspect="1" noChangeArrowheads="1"/>
          </p:cNvPicPr>
          <p:nvPr>
            <p:custDataLst>
              <p:tags r:id="rId24"/>
            </p:custDataLst>
          </p:nvPr>
        </p:nvPicPr>
        <p:blipFill>
          <a:blip r:embed="rId45" cstate="email">
            <a:extLst>
              <a:ext uri="{28A0092B-C50C-407E-A947-70E740481C1C}">
                <a14:useLocalDpi xmlns:a14="http://schemas.microsoft.com/office/drawing/2010/main"/>
              </a:ext>
            </a:extLst>
          </a:blip>
          <a:srcRect/>
          <a:stretch>
            <a:fillRect/>
          </a:stretch>
        </p:blipFill>
        <p:spPr bwMode="auto">
          <a:xfrm>
            <a:off x="8642637" y="4703050"/>
            <a:ext cx="409749" cy="409749"/>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p:cNvSpPr/>
          <p:nvPr>
            <p:custDataLst>
              <p:tags r:id="rId25"/>
            </p:custDataLst>
          </p:nvPr>
        </p:nvSpPr>
        <p:spPr>
          <a:xfrm>
            <a:off x="9055627" y="4740461"/>
            <a:ext cx="2999015" cy="290272"/>
          </a:xfrm>
          <a:prstGeom prst="rect">
            <a:avLst/>
          </a:prstGeom>
        </p:spPr>
        <p:txBody>
          <a:bodyPr wrap="square">
            <a:spAutoFit/>
          </a:bodyPr>
          <a:lstStyle/>
          <a:p>
            <a:pPr>
              <a:lnSpc>
                <a:spcPct val="89000"/>
              </a:lnSpc>
            </a:pPr>
            <a:r>
              <a:rPr lang="en-GB" sz="1445" b="1" dirty="0">
                <a:solidFill>
                  <a:schemeClr val="accent3"/>
                </a:solidFill>
              </a:rPr>
              <a:t>Reduce manual errors</a:t>
            </a:r>
          </a:p>
        </p:txBody>
      </p:sp>
      <p:pic>
        <p:nvPicPr>
          <p:cNvPr id="103" name="Picture 4" descr="Image result for turn around time icon"/>
          <p:cNvPicPr>
            <a:picLocks noChangeAspect="1" noChangeArrowheads="1"/>
          </p:cNvPicPr>
          <p:nvPr>
            <p:custDataLst>
              <p:tags r:id="rId26"/>
            </p:custDataLst>
          </p:nvPr>
        </p:nvPicPr>
        <p:blipFill>
          <a:blip r:embed="rId46" cstate="email">
            <a:extLst>
              <a:ext uri="{28A0092B-C50C-407E-A947-70E740481C1C}">
                <a14:useLocalDpi xmlns:a14="http://schemas.microsoft.com/office/drawing/2010/main"/>
              </a:ext>
            </a:extLst>
          </a:blip>
          <a:srcRect/>
          <a:stretch>
            <a:fillRect/>
          </a:stretch>
        </p:blipFill>
        <p:spPr bwMode="auto">
          <a:xfrm>
            <a:off x="8592906" y="5257364"/>
            <a:ext cx="443909" cy="443909"/>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p:cNvSpPr/>
          <p:nvPr>
            <p:custDataLst>
              <p:tags r:id="rId27"/>
            </p:custDataLst>
          </p:nvPr>
        </p:nvSpPr>
        <p:spPr>
          <a:xfrm>
            <a:off x="9070974" y="5304229"/>
            <a:ext cx="2999015" cy="290272"/>
          </a:xfrm>
          <a:prstGeom prst="rect">
            <a:avLst/>
          </a:prstGeom>
        </p:spPr>
        <p:txBody>
          <a:bodyPr wrap="square">
            <a:spAutoFit/>
          </a:bodyPr>
          <a:lstStyle/>
          <a:p>
            <a:pPr>
              <a:lnSpc>
                <a:spcPct val="89000"/>
              </a:lnSpc>
            </a:pPr>
            <a:r>
              <a:rPr lang="en-GB" sz="1445" b="1" dirty="0">
                <a:solidFill>
                  <a:schemeClr val="accent3"/>
                </a:solidFill>
              </a:rPr>
              <a:t>Improved turn around time</a:t>
            </a:r>
          </a:p>
        </p:txBody>
      </p:sp>
      <p:pic>
        <p:nvPicPr>
          <p:cNvPr id="122" name="Picture 8" descr="Image result for digital health icon"/>
          <p:cNvPicPr>
            <a:picLocks noChangeAspect="1" noChangeArrowheads="1"/>
          </p:cNvPicPr>
          <p:nvPr>
            <p:custDataLst>
              <p:tags r:id="rId28"/>
            </p:custDataLst>
          </p:nvPr>
        </p:nvPicPr>
        <p:blipFill>
          <a:blip r:embed="rId47" cstate="email">
            <a:extLst>
              <a:ext uri="{28A0092B-C50C-407E-A947-70E740481C1C}">
                <a14:useLocalDpi xmlns:a14="http://schemas.microsoft.com/office/drawing/2010/main"/>
              </a:ext>
            </a:extLst>
          </a:blip>
          <a:srcRect/>
          <a:stretch>
            <a:fillRect/>
          </a:stretch>
        </p:blipFill>
        <p:spPr bwMode="auto">
          <a:xfrm>
            <a:off x="8644637" y="5887958"/>
            <a:ext cx="486555" cy="486555"/>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custDataLst>
              <p:tags r:id="rId29"/>
            </p:custDataLst>
          </p:nvPr>
        </p:nvSpPr>
        <p:spPr>
          <a:xfrm>
            <a:off x="9081248" y="5869542"/>
            <a:ext cx="2999015" cy="290272"/>
          </a:xfrm>
          <a:prstGeom prst="rect">
            <a:avLst/>
          </a:prstGeom>
        </p:spPr>
        <p:txBody>
          <a:bodyPr wrap="square">
            <a:spAutoFit/>
          </a:bodyPr>
          <a:lstStyle/>
          <a:p>
            <a:pPr>
              <a:lnSpc>
                <a:spcPct val="89000"/>
              </a:lnSpc>
            </a:pPr>
            <a:r>
              <a:rPr lang="en-GB" sz="1445" b="1" dirty="0">
                <a:solidFill>
                  <a:schemeClr val="accent3"/>
                </a:solidFill>
              </a:rPr>
              <a:t>Enable digital healthcare</a:t>
            </a:r>
          </a:p>
        </p:txBody>
      </p:sp>
      <p:pic>
        <p:nvPicPr>
          <p:cNvPr id="124" name="Picture 123"/>
          <p:cNvPicPr>
            <a:picLocks/>
          </p:cNvPicPr>
          <p:nvPr>
            <p:custDataLst>
              <p:tags r:id="rId30"/>
            </p:custDataLst>
          </p:nvPr>
        </p:nvPicPr>
        <p:blipFill>
          <a:blip r:embed="rId48" cstate="email">
            <a:extLst>
              <a:ext uri="{28A0092B-C50C-407E-A947-70E740481C1C}">
                <a14:useLocalDpi xmlns:a14="http://schemas.microsoft.com/office/drawing/2010/main"/>
              </a:ext>
            </a:extLst>
          </a:blip>
          <a:stretch>
            <a:fillRect/>
          </a:stretch>
        </p:blipFill>
        <p:spPr>
          <a:xfrm>
            <a:off x="6080426" y="1232834"/>
            <a:ext cx="1506739" cy="1392114"/>
          </a:xfrm>
          <a:prstGeom prst="rect">
            <a:avLst/>
          </a:prstGeom>
        </p:spPr>
      </p:pic>
      <p:pic>
        <p:nvPicPr>
          <p:cNvPr id="125" name="Picture 124"/>
          <p:cNvPicPr>
            <a:picLocks noChangeAspect="1"/>
          </p:cNvPicPr>
          <p:nvPr>
            <p:custDataLst>
              <p:tags r:id="rId31"/>
            </p:custDataLst>
          </p:nvPr>
        </p:nvPicPr>
        <p:blipFill>
          <a:blip r:embed="rId49" cstate="email">
            <a:extLst>
              <a:ext uri="{28A0092B-C50C-407E-A947-70E740481C1C}">
                <a14:useLocalDpi xmlns:a14="http://schemas.microsoft.com/office/drawing/2010/main"/>
              </a:ext>
            </a:extLst>
          </a:blip>
          <a:stretch>
            <a:fillRect/>
          </a:stretch>
        </p:blipFill>
        <p:spPr>
          <a:xfrm>
            <a:off x="857956" y="1242187"/>
            <a:ext cx="1513623" cy="1373407"/>
          </a:xfrm>
          <a:prstGeom prst="rect">
            <a:avLst/>
          </a:prstGeom>
        </p:spPr>
      </p:pic>
      <p:pic>
        <p:nvPicPr>
          <p:cNvPr id="126" name="Picture 125"/>
          <p:cNvPicPr>
            <a:picLocks noChangeAspect="1"/>
          </p:cNvPicPr>
          <p:nvPr>
            <p:custDataLst>
              <p:tags r:id="rId32"/>
            </p:custDataLst>
          </p:nvPr>
        </p:nvPicPr>
        <p:blipFill>
          <a:blip r:embed="rId50" cstate="email">
            <a:extLst>
              <a:ext uri="{28A0092B-C50C-407E-A947-70E740481C1C}">
                <a14:useLocalDpi xmlns:a14="http://schemas.microsoft.com/office/drawing/2010/main"/>
              </a:ext>
            </a:extLst>
          </a:blip>
          <a:stretch>
            <a:fillRect/>
          </a:stretch>
        </p:blipFill>
        <p:spPr>
          <a:xfrm>
            <a:off x="3351368" y="1240687"/>
            <a:ext cx="1611491" cy="1363226"/>
          </a:xfrm>
          <a:prstGeom prst="rect">
            <a:avLst/>
          </a:prstGeom>
        </p:spPr>
      </p:pic>
      <p:sp>
        <p:nvSpPr>
          <p:cNvPr id="127" name="Rectangle 126"/>
          <p:cNvSpPr/>
          <p:nvPr>
            <p:custDataLst>
              <p:tags r:id="rId33"/>
            </p:custDataLst>
          </p:nvPr>
        </p:nvSpPr>
        <p:spPr>
          <a:xfrm>
            <a:off x="378372" y="1257993"/>
            <a:ext cx="362749" cy="1328541"/>
          </a:xfrm>
          <a:prstGeom prst="rect">
            <a:avLst/>
          </a:prstGeom>
          <a:ln/>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1016264"/>
            <a:r>
              <a:rPr lang="en-US" sz="1556" kern="0" dirty="0">
                <a:solidFill>
                  <a:srgbClr val="000000"/>
                </a:solidFill>
                <a:latin typeface="Bosch Office Sans"/>
              </a:rPr>
              <a:t>Healthy</a:t>
            </a:r>
          </a:p>
        </p:txBody>
      </p:sp>
      <p:sp>
        <p:nvSpPr>
          <p:cNvPr id="128" name="Rectangle 127"/>
          <p:cNvSpPr/>
          <p:nvPr>
            <p:custDataLst>
              <p:tags r:id="rId34"/>
            </p:custDataLst>
          </p:nvPr>
        </p:nvSpPr>
        <p:spPr>
          <a:xfrm>
            <a:off x="2848621" y="1249232"/>
            <a:ext cx="362749" cy="1328541"/>
          </a:xfrm>
          <a:prstGeom prst="rect">
            <a:avLst/>
          </a:prstGeom>
          <a:ln/>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1016264"/>
            <a:r>
              <a:rPr lang="en-US" sz="1334" kern="0" dirty="0">
                <a:solidFill>
                  <a:srgbClr val="000000"/>
                </a:solidFill>
                <a:latin typeface="Bosch Office Sans"/>
              </a:rPr>
              <a:t>DR: Red lesions</a:t>
            </a:r>
          </a:p>
        </p:txBody>
      </p:sp>
      <p:sp>
        <p:nvSpPr>
          <p:cNvPr id="129" name="Rectangle 128"/>
          <p:cNvSpPr/>
          <p:nvPr>
            <p:custDataLst>
              <p:tags r:id="rId35"/>
            </p:custDataLst>
          </p:nvPr>
        </p:nvSpPr>
        <p:spPr>
          <a:xfrm>
            <a:off x="5579898" y="1276858"/>
            <a:ext cx="362749" cy="1328541"/>
          </a:xfrm>
          <a:prstGeom prst="rect">
            <a:avLst/>
          </a:prstGeom>
          <a:ln/>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1016264"/>
            <a:r>
              <a:rPr lang="en-US" sz="1334" kern="0" dirty="0">
                <a:solidFill>
                  <a:srgbClr val="000000"/>
                </a:solidFill>
                <a:latin typeface="Bosch Office Sans"/>
              </a:rPr>
              <a:t>DR: Yellow lesions</a:t>
            </a:r>
          </a:p>
        </p:txBody>
      </p:sp>
      <p:sp>
        <p:nvSpPr>
          <p:cNvPr id="130" name="Pentagon 129"/>
          <p:cNvSpPr/>
          <p:nvPr>
            <p:custDataLst>
              <p:tags r:id="rId36"/>
            </p:custDataLst>
          </p:nvPr>
        </p:nvSpPr>
        <p:spPr>
          <a:xfrm flipH="1">
            <a:off x="8399397" y="1907715"/>
            <a:ext cx="3526165" cy="1013884"/>
          </a:xfrm>
          <a:prstGeom prst="homePlate">
            <a:avLst/>
          </a:prstGeom>
          <a:solidFill>
            <a:schemeClr val="bg1">
              <a:lumMod val="95000"/>
            </a:schemeClr>
          </a:solidFill>
          <a:ln w="9525" cap="flat" cmpd="sng" algn="ctr">
            <a:solidFill>
              <a:srgbClr val="00B0F0"/>
            </a:solidFill>
            <a:prstDash val="solid"/>
          </a:ln>
          <a:effectLst/>
        </p:spPr>
        <p:txBody>
          <a:bodyPr rtlCol="0" anchor="ctr"/>
          <a:lstStyle/>
          <a:p>
            <a:pPr algn="ctr"/>
            <a:r>
              <a:rPr lang="en-US" sz="1223" dirty="0"/>
              <a:t>Employed Convolutional neural network (a type of deep learning approach), to automatically extract features using a series of filters.</a:t>
            </a:r>
            <a:endParaRPr lang="en-US" sz="1223" kern="0" dirty="0">
              <a:solidFill>
                <a:srgbClr val="000000"/>
              </a:solidFill>
              <a:latin typeface="Bosch Office Sans"/>
            </a:endParaRPr>
          </a:p>
        </p:txBody>
      </p:sp>
      <p:pic>
        <p:nvPicPr>
          <p:cNvPr id="131" name="Picture 130"/>
          <p:cNvPicPr>
            <a:picLocks noChangeAspect="1"/>
          </p:cNvPicPr>
          <p:nvPr>
            <p:custDataLst>
              <p:tags r:id="rId37"/>
            </p:custDataLst>
          </p:nvPr>
        </p:nvPicPr>
        <p:blipFill>
          <a:blip r:embed="rId51" cstate="email">
            <a:extLst>
              <a:ext uri="{28A0092B-C50C-407E-A947-70E740481C1C}">
                <a14:useLocalDpi xmlns:a14="http://schemas.microsoft.com/office/drawing/2010/main"/>
              </a:ext>
            </a:extLst>
          </a:blip>
          <a:stretch>
            <a:fillRect/>
          </a:stretch>
        </p:blipFill>
        <p:spPr>
          <a:xfrm>
            <a:off x="10145900" y="386011"/>
            <a:ext cx="869709" cy="858227"/>
          </a:xfrm>
          <a:prstGeom prst="rect">
            <a:avLst/>
          </a:prstGeom>
        </p:spPr>
      </p:pic>
    </p:spTree>
    <p:custDataLst>
      <p:tags r:id="rId1"/>
    </p:custDataLst>
    <p:extLst>
      <p:ext uri="{BB962C8B-B14F-4D97-AF65-F5344CB8AC3E}">
        <p14:creationId xmlns:p14="http://schemas.microsoft.com/office/powerpoint/2010/main" val="15527297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00.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2;-2;-1;-2"/>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102.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03.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05.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106.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2;-2;-1;-2"/>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10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0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1.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COLORSETGROUPCLASSNAME" val="ColorSetGroup3"/>
  <p:tag name="FONTSETGROUPCLASSNAME" val="FontSetGroup1"/>
  <p:tag name="SHAPECLASSNAME" val="HiddenSubtitle"/>
  <p:tag name="SHAPECLASSPROTECTIONTYPE" val="0"/>
  <p:tag name="ML_SENDTOBACK" val=" 1"/>
</p:tagLst>
</file>

<file path=ppt/tags/tag11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1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1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13.xml><?xml version="1.0" encoding="utf-8"?>
<p:tagLst xmlns:a="http://schemas.openxmlformats.org/drawingml/2006/main" xmlns:r="http://schemas.openxmlformats.org/officeDocument/2006/relationships" xmlns:p="http://schemas.openxmlformats.org/presentationml/2006/main">
  <p:tag name="COLORSETCLASSNAME" val="ColorSet2"/>
  <p:tag name="COLORS" val="-1;-1;-2;-2;-3;-2"/>
</p:tagLst>
</file>

<file path=ppt/tags/tag11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15.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16.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17.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18.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19.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COLORSETGROUPCLASSNAME" val="ColorSetGroup3"/>
  <p:tag name="FONTSETGROUPCLASSNAME" val="FontSetGroup1"/>
  <p:tag name="SHAPECLASSNAME" val="TitleOnTitleSlides"/>
  <p:tag name="SHAPECLASSPROTECTIONTYPE" val="0"/>
</p:tagLst>
</file>

<file path=ppt/tags/tag120.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1.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2.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3.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4.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5.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6.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7.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8.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9.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130.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31.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32.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33.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34.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35.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3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37.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38.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39.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4.xml><?xml version="1.0" encoding="utf-8"?>
<p:tagLst xmlns:a="http://schemas.openxmlformats.org/drawingml/2006/main" xmlns:r="http://schemas.openxmlformats.org/officeDocument/2006/relationships" xmlns:p="http://schemas.openxmlformats.org/presentationml/2006/main">
  <p:tag name="ML_2" val="Bosch2.mcr"/>
  <p:tag name="SHAPESETGROUPCLASSNAME" val="ShapeSetGroup1"/>
  <p:tag name="SHAPESETCLASSNAME" val="FullPageGraphic"/>
  <p:tag name="COLORSETGROUPCLASSNAME" val="ColorSetGroup1"/>
  <p:tag name="COLORSETCLASSNAME" val="ColorSet2"/>
  <p:tag name="FONTSETGROUPCLASSNAME" val="FontSetGroup1"/>
  <p:tag name="STYLESETGROUPCLASSNAME" val="StyleSetGroup1"/>
  <p:tag name="MAPNAME" val="Map1"/>
  <p:tag name="CFG.LAYOUT" val="BOSCH2"/>
  <p:tag name="MLI" val="1"/>
  <p:tag name="PICTURE 1_SHAPECLASSPROTECTIONTYPE" val="15"/>
  <p:tag name="PICTURE 2_SHAPECLASSPROTECTIONTYPE" val="15"/>
  <p:tag name="PICTURE 3_SHAPECLASSPROTECTIONTYPE" val="0"/>
  <p:tag name="FIELD.CHAPTER.COMBOINDEX" val="-2"/>
  <p:tag name="FIELD.REM_ANL.COMBOINDEX" val="-2"/>
  <p:tag name="FIELD.DPT.COMBOINDEX" val="-2"/>
  <p:tag name="CFG.LAYOUTRES" val="BOSCH2_16_9_2018"/>
  <p:tag name="ML_1" val="RBEI_Ban5"/>
  <p:tag name="ML_LAYOUT_RESOURCE" val="BOSCH2_16_9_NAVI.mcr"/>
  <p:tag name="FIELD.CHAPTER.CONTENT" val="Digital Transformation"/>
  <p:tag name="FIELD.CHAPTER.VALUE" val="Digital Transformation"/>
  <p:tag name="FIELD.DPT.CONTENT" val="RBEI"/>
  <p:tag name="FIELD.DPT.VALUE" val="RBEI | "/>
  <p:tag name="FIELDS.INITIALIZED" val="1"/>
  <p:tag name="PICTURE 5_SHAPECLASSPROTECTIONTYPE" val="15"/>
  <p:tag name="PICTURE 6_SHAPECLASSPROTECTIONTYPE" val="0"/>
</p:tagLst>
</file>

<file path=ppt/tags/tag14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4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42.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4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44.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45.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4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4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4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49.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FullPageGraphic"/>
  <p:tag name="COLORSETGROUPCLASSNAME" val="ColorSetGroup1"/>
  <p:tag name="FONTSETGROUPCLASSNAME" val="FontSetGroup1"/>
  <p:tag name="SHAPECLASSFILE" val="BoschSamplePic16-9.jpg"/>
  <p:tag name="ML_SENDTOBACK" val=" 1"/>
  <p:tag name="MLI" val="1"/>
  <p:tag name="SHAPECLASSNAME" val="FullPageGraphic"/>
  <p:tag name="SHAPECLASSPROTECTIONTYPE" val="0"/>
</p:tagLst>
</file>

<file path=ppt/tags/tag15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5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5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5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5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5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56.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57.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58.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59.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FullPageGraphic"/>
  <p:tag name="COLORSETGROUPCLASSNAME" val="ColorSetGroup1"/>
  <p:tag name="FONTSETGROUPCLASSNAME" val="FontSetGroup1"/>
  <p:tag name="SHAPECLASSFILE" val="BoschLogo2016.emf"/>
  <p:tag name="MLI" val="1"/>
  <p:tag name="SHAPECLASSNAME" val="LogoOnSlides"/>
  <p:tag name="SHAPECLASSPROTECTIONTYPE" val="15"/>
</p:tagLst>
</file>

<file path=ppt/tags/tag16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6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6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63.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64.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65.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66.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67.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68.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1;-2;-2;-1;-2"/>
</p:tagLst>
</file>

<file path=ppt/tags/tag169.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2;-2;-1;-2"/>
</p:tagLst>
</file>

<file path=ppt/tags/tag1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FullPageGraphic"/>
  <p:tag name="COLORSETGROUPCLASSNAME" val="ColorSetGroup1"/>
  <p:tag name="FONTSETGROUPCLASSNAME" val="FontSetGroup1"/>
  <p:tag name="SHAPECLASSFILE" val="Bosch-Symbol-Logotype-Supergraphic.png"/>
  <p:tag name="MLI" val="1"/>
  <p:tag name="SHAPECLASSNAME" val="ColorBarOnTitleSlides"/>
  <p:tag name="SHAPECLASSPROTECTIONTYPE" val="15"/>
</p:tagLst>
</file>

<file path=ppt/tags/tag17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7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7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7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7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75.xml><?xml version="1.0" encoding="utf-8"?>
<p:tagLst xmlns:a="http://schemas.openxmlformats.org/drawingml/2006/main" xmlns:r="http://schemas.openxmlformats.org/officeDocument/2006/relationships" xmlns:p="http://schemas.openxmlformats.org/presentationml/2006/main">
  <p:tag name="COLORSETCLASSNAME" val="ColorSet2"/>
  <p:tag name="COLORS" val="-2;-2;-2;-2;LightBlue;-2"/>
</p:tagLst>
</file>

<file path=ppt/tags/tag17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7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78.xml><?xml version="1.0" encoding="utf-8"?>
<p:tagLst xmlns:a="http://schemas.openxmlformats.org/drawingml/2006/main" xmlns:r="http://schemas.openxmlformats.org/officeDocument/2006/relationships" xmlns:p="http://schemas.openxmlformats.org/presentationml/2006/main">
  <p:tag name="FIELD.DPT.CONTENT" val="RBEI/EST"/>
  <p:tag name="FIELD.DPT.VALUE" val="RBEI/EST | "/>
  <p:tag name="FIELDS.INITIALIZED" val="1"/>
  <p:tag name="ML_1" val="RBEI_BMH"/>
  <p:tag name="ML_2" val="Bosch2.mcr"/>
  <p:tag name="ML_LAYOUT_RESOURCE" val="BOSCH2_16_9.mcr"/>
  <p:tag name="SHAPESETGROUPCLASSNAME" val="ShapeSetGroup1"/>
  <p:tag name="SHAPESETCLASSNAME" val="TitleOnly"/>
  <p:tag name="COLORSETGROUPCLASSNAME" val="ColorSetGroup5"/>
  <p:tag name="COLORSETCLASSNAME" val="ColorSet2"/>
  <p:tag name="FONTSETGROUPCLASSNAME" val="FontSetGroup1"/>
  <p:tag name="STYLESETGROUPCLASSNAME" val="StyleSetGroup1"/>
  <p:tag name="MAPNAME" val="Map1"/>
  <p:tag name="CFG.LAYOUT" val="BOSCH2"/>
  <p:tag name="MLI" val="1"/>
  <p:tag name="TEXTBOX 2_SHAPECLASSPROTECTIONTYPE" val="31"/>
  <p:tag name="RECTANGLE 3_SHAPECLASSPROTECTIONTYPE" val="3"/>
  <p:tag name="RECTANGLE 4_SHAPECLASSPROTECTIONTYPE" val="63"/>
  <p:tag name="RECTANGLE 5_SHAPECLASSPROTECTIONTYPE" val="63"/>
  <p:tag name="RECTANGLE 6_SHAPECLASSPROTECTIONTYPE" val="63"/>
  <p:tag name="TEXTBOX 7_SHAPECLASSPROTECTIONTYPE" val="25"/>
  <p:tag name="TITLE 1_SHAPECLASSPROTECTIONTYPE" val="9"/>
  <p:tag name="PICTURE 8_SHAPECLASSPROTECTIONTYPE" val="15"/>
  <p:tag name="PICTURE 9_SHAPECLASSPROTECTIONTYPE" val="15"/>
  <p:tag name="FIELD.CHAPTER.CONTENT" val="Computer Vision Portfolio"/>
  <p:tag name="FIELD.CHAPTER.VALUE" val="Computer Vision Portfolio"/>
  <p:tag name="FIELD.CHAPTER.COMBOINDEX" val="-2"/>
  <p:tag name="FIELD.REM_ANL.COMBOINDEX" val="-2"/>
  <p:tag name="FIELD.DPT.COMBOINDEX" val="-2"/>
</p:tagLst>
</file>

<file path=ppt/tags/tag17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Logo2016.emf"/>
  <p:tag name="MLI" val="1"/>
  <p:tag name="SHAPECLASSNAME" val="LogoOnSlides"/>
  <p:tag name="SHAPECLASSPROTECTIONTYPE" val="15"/>
</p:tagLst>
</file>

<file path=ppt/tags/tag18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Supergraphic-Bottom-16-9.png"/>
  <p:tag name="MLI" val="1"/>
  <p:tag name="SHAPECLASSNAME" val="ColorBarOnSlides"/>
  <p:tag name="SHAPECLASSPROTECTIONTYPE" val="15"/>
</p:tagLst>
</file>

<file path=ppt/tags/tag182.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TitleOnly"/>
  <p:tag name="COLORSETGROUPCLASSNAME" val="ColorSetGroup5"/>
  <p:tag name="FONTSETGROUPCLASSNAME" val="FontSetGroup1"/>
  <p:tag name="SHAPECLASSNAME" val="Chapterbox"/>
  <p:tag name="SHAPECLASSPROTECTIONTYPE" val="25"/>
  <p:tag name="COLORS" val="-2;-2;-2;-2;-1;-2"/>
</p:tagLst>
</file>

<file path=ppt/tags/tag183.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TitleOnly"/>
  <p:tag name="COLORSETGROUPCLASSNAME" val="ColorSetGroup5"/>
  <p:tag name="FONTSETGROUPCLASSNAME" val="FontSetGroup1"/>
  <p:tag name="SHAPECLASSNAME" val="Attachment"/>
  <p:tag name="SHAPECLASSPROTECTIONTYPE" val="3"/>
  <p:tag name="COLORS" val="-2;-2;-2;-2;-1;-2"/>
</p:tagLst>
</file>

<file path=ppt/tags/tag184.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itleOnly"/>
  <p:tag name="COLORSETGROUPCLASSNAME" val="ColorSetGroup5"/>
  <p:tag name="FONTSETGROUPCLASSNAME" val="FontSetGroup1"/>
  <p:tag name="SHAPECLASSNAME" val="tNavbar"/>
  <p:tag name="SHAPECLASSPROTECTIONTYPE" val="31"/>
</p:tagLst>
</file>

<file path=ppt/tags/tag185.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TitleOnly"/>
  <p:tag name="COLORSETGROUPCLASSNAME" val="ColorSetGroup5"/>
  <p:tag name="FONTSETGROUPCLASSNAME" val="FontSetGroup1"/>
  <p:tag name="SHAPECLASSNAME" val="TitleOnSlides"/>
  <p:tag name="SHAPECLASSPROTECTIONTYPE" val="9"/>
  <p:tag name="COLORS" val="-2;-2;-2;-2;Primary;-2"/>
</p:tagLst>
</file>

<file path=ppt/tags/tag18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8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19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9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192.xml><?xml version="1.0" encoding="utf-8"?>
<p:tagLst xmlns:a="http://schemas.openxmlformats.org/drawingml/2006/main" xmlns:r="http://schemas.openxmlformats.org/officeDocument/2006/relationships" xmlns:p="http://schemas.openxmlformats.org/presentationml/2006/main">
  <p:tag name="ML_2" val="Bosch2.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MBOINDEX" val="-2"/>
  <p:tag name="PICTURE 9_SHAPECLASSPROTECTIONTYPE" val="15"/>
  <p:tag name="PICTURE 10_SHAPECLASSPROTECTIONTYPE" val="15"/>
  <p:tag name="ML_1" val="RBEI_Kor"/>
  <p:tag name="ML_LAYOUT_RESOURCE" val="BOSCH2_16_9.mcr"/>
  <p:tag name="FIELD.CHAPTER.CONTENT" val=""/>
  <p:tag name="FIELD.CHAPTER.VALUE" val=""/>
  <p:tag name="FIELD.DPT.CONTENT" val="Bosch"/>
  <p:tag name="FIELD.DPT.VALUE" val="Bosch | "/>
  <p:tag name="FIELDS.INITIALIZED" val="1"/>
</p:tagLst>
</file>

<file path=ppt/tags/tag19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94.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95.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9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Primary;-2"/>
  <p:tag name="FONTCOLOR" val="Primary"/>
  <p:tag name="FONTCOLOR2" val="Primary"/>
</p:tagLst>
</file>

<file path=ppt/tags/tag1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9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Logo2016.emf"/>
  <p:tag name="MLI" val="1"/>
  <p:tag name="SHAPECLASSNAME" val="LogoOnSlides"/>
  <p:tag name="SHAPECLASSPROTECTIONTYPE" val="15"/>
</p:tagLst>
</file>

<file path=ppt/tags/tag19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Supergraphic-Bottom-16-9.png"/>
  <p:tag name="MLI" val="1"/>
  <p:tag name="SHAPECLASSNAME" val="ColorBarOnSlides"/>
  <p:tag name="SHAPECLASSPROTECTIONTYPE" val="15"/>
</p:tagLst>
</file>

<file path=ppt/tags/tag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2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00.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1.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2.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3.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4.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10.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1.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2.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3.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4.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9.xml><?xml version="1.0" encoding="utf-8"?>
<p:tagLst xmlns:a="http://schemas.openxmlformats.org/drawingml/2006/main" xmlns:r="http://schemas.openxmlformats.org/officeDocument/2006/relationships" xmlns:p="http://schemas.openxmlformats.org/presentationml/2006/main">
  <p:tag name="ML_2" val="Bosch2.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MBOINDEX" val="-2"/>
  <p:tag name="PICTURE 9_SHAPECLASSPROTECTIONTYPE" val="15"/>
  <p:tag name="PICTURE 10_SHAPECLASSPROTECTIONTYPE" val="15"/>
  <p:tag name="ML_1" val="RBEI_Kor"/>
  <p:tag name="ML_LAYOUT_RESOURCE" val="BOSCH2_16_9.mcr"/>
  <p:tag name="FIELD.CHAPTER.CONTENT" val=""/>
  <p:tag name="FIELD.CHAPTER.VALUE" val=""/>
  <p:tag name="FIELD.DPT.CONTENT" val="Bosch"/>
  <p:tag name="FIELD.DPT.VALUE" val="Bosch | "/>
  <p:tag name="FIELDS.INITIALIZED" val="1"/>
</p:tagLst>
</file>

<file path=ppt/tags/tag2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2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22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22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22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Primary;-2"/>
  <p:tag name="FONTCOLOR" val="Primary"/>
  <p:tag name="FONTCOLOR2" val="Primary"/>
</p:tagLst>
</file>

<file path=ppt/tags/tag22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Logo2016.emf"/>
  <p:tag name="MLI" val="1"/>
  <p:tag name="SHAPECLASSNAME" val="LogoOnSlides"/>
  <p:tag name="SHAPECLASSPROTECTIONTYPE" val="15"/>
</p:tagLst>
</file>

<file path=ppt/tags/tag22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Supergraphic-Bottom-16-9.png"/>
  <p:tag name="MLI" val="1"/>
  <p:tag name="SHAPECLASSNAME" val="ColorBarOnSlides"/>
  <p:tag name="SHAPECLASSPROTECTIONTYPE" val="15"/>
</p:tagLst>
</file>

<file path=ppt/tags/tag22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8.xml><?xml version="1.0" encoding="utf-8"?>
<p:tagLst xmlns:a="http://schemas.openxmlformats.org/drawingml/2006/main" xmlns:r="http://schemas.openxmlformats.org/officeDocument/2006/relationships" xmlns:p="http://schemas.openxmlformats.org/presentationml/2006/main">
  <p:tag name="COLORSETCLASSNAME" val="ColorSet2"/>
  <p:tag name="COLORS" val="Magenta;-1;Magenta;-1;-1;-2"/>
</p:tagLst>
</file>

<file path=ppt/tags/tag229.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Magenta;-1;-1;-2"/>
</p:tagLst>
</file>

<file path=ppt/tags/tag2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30.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Magenta;-1;-1;-2"/>
</p:tagLst>
</file>

<file path=ppt/tags/tag231.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Magenta;-1;-1;-2"/>
</p:tagLst>
</file>

<file path=ppt/tags/tag232.xml><?xml version="1.0" encoding="utf-8"?>
<p:tagLst xmlns:a="http://schemas.openxmlformats.org/drawingml/2006/main" xmlns:r="http://schemas.openxmlformats.org/officeDocument/2006/relationships" xmlns:p="http://schemas.openxmlformats.org/presentationml/2006/main">
  <p:tag name="COLORSETCLASSNAME" val="ColorSet2"/>
  <p:tag name="COLORS" val="-2;-2;DarkBlue;-1;-1;-2"/>
</p:tagLst>
</file>

<file path=ppt/tags/tag233.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DarkBlue;-1;-1;-2"/>
</p:tagLst>
</file>

<file path=ppt/tags/tag234.xml><?xml version="1.0" encoding="utf-8"?>
<p:tagLst xmlns:a="http://schemas.openxmlformats.org/drawingml/2006/main" xmlns:r="http://schemas.openxmlformats.org/officeDocument/2006/relationships" xmlns:p="http://schemas.openxmlformats.org/presentationml/2006/main">
  <p:tag name="COLORSETCLASSNAME" val="ColorSet2"/>
  <p:tag name="COLORS" val="-2;-2;DarkBlue;-1;-1;-2"/>
</p:tagLst>
</file>

<file path=ppt/tags/tag235.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DarkBlue;-1;-1;-2"/>
</p:tagLst>
</file>

<file path=ppt/tags/tag236.xml><?xml version="1.0" encoding="utf-8"?>
<p:tagLst xmlns:a="http://schemas.openxmlformats.org/drawingml/2006/main" xmlns:r="http://schemas.openxmlformats.org/officeDocument/2006/relationships" xmlns:p="http://schemas.openxmlformats.org/presentationml/2006/main">
  <p:tag name="COLORSETCLASSNAME" val="ColorSet2"/>
  <p:tag name="COLORS" val="-2;-2;DarkBlue;-1;-1;-2"/>
</p:tagLst>
</file>

<file path=ppt/tags/tag237.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DarkBlue;-1;-1;-2"/>
</p:tagLst>
</file>

<file path=ppt/tags/tag238.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3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4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1.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4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3.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4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5.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4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7.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4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 name="K_DONE" val="1"/>
</p:tagLst>
</file>

<file path=ppt/tags/tag24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5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1.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52.xml><?xml version="1.0" encoding="utf-8"?>
<p:tagLst xmlns:a="http://schemas.openxmlformats.org/drawingml/2006/main" xmlns:r="http://schemas.openxmlformats.org/officeDocument/2006/relationships" xmlns:p="http://schemas.openxmlformats.org/presentationml/2006/main">
  <p:tag name="COLORSETCLASSNAME" val="ColorSet2"/>
  <p:tag name="COLORS" val="-1;-1;Turquoise;-1;-1;-2"/>
</p:tagLst>
</file>

<file path=ppt/tags/tag253.xml><?xml version="1.0" encoding="utf-8"?>
<p:tagLst xmlns:a="http://schemas.openxmlformats.org/drawingml/2006/main" xmlns:r="http://schemas.openxmlformats.org/officeDocument/2006/relationships" xmlns:p="http://schemas.openxmlformats.org/presentationml/2006/main">
  <p:tag name="COLORSETCLASSNAME" val="ColorSet2"/>
  <p:tag name="COLORS" val="-1;-1;Turquoise;-1;-1;-2"/>
</p:tagLst>
</file>

<file path=ppt/tags/tag25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5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6.xml><?xml version="1.0" encoding="utf-8"?>
<p:tagLst xmlns:a="http://schemas.openxmlformats.org/drawingml/2006/main" xmlns:r="http://schemas.openxmlformats.org/officeDocument/2006/relationships" xmlns:p="http://schemas.openxmlformats.org/presentationml/2006/main">
  <p:tag name="ML_2" val="Bosch2.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MBOINDEX" val="-2"/>
  <p:tag name="PICTURE 9_SHAPECLASSPROTECTIONTYPE" val="15"/>
  <p:tag name="PICTURE 10_SHAPECLASSPROTECTIONTYPE" val="15"/>
  <p:tag name="ML_1" val="RBEI_Kor"/>
  <p:tag name="ML_LAYOUT_RESOURCE" val="BOSCH2_16_9.mcr"/>
  <p:tag name="FIELD.CHAPTER.CONTENT" val=""/>
  <p:tag name="FIELD.CHAPTER.VALUE" val=""/>
  <p:tag name="FIELD.DPT.CONTENT" val="Bosch"/>
  <p:tag name="FIELD.DPT.VALUE" val="Bosch | "/>
  <p:tag name="FIELDS.INITIALIZED" val="1"/>
</p:tagLst>
</file>

<file path=ppt/tags/tag257.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258.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259.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2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6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Primary;-2"/>
  <p:tag name="FONTCOLOR" val="Primary"/>
  <p:tag name="FONTCOLOR2" val="Primary"/>
</p:tagLst>
</file>

<file path=ppt/tags/tag26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Logo2016.emf"/>
  <p:tag name="MLI" val="1"/>
  <p:tag name="SHAPECLASSNAME" val="LogoOnSlides"/>
  <p:tag name="SHAPECLASSPROTECTIONTYPE" val="15"/>
</p:tagLst>
</file>

<file path=ppt/tags/tag26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Supergraphic-Bottom-16-9.png"/>
  <p:tag name="MLI" val="1"/>
  <p:tag name="SHAPECLASSNAME" val="ColorBarOnSlides"/>
  <p:tag name="SHAPECLASSPROTECTIONTYPE" val="15"/>
</p:tagLst>
</file>

<file path=ppt/tags/tag2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6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65.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66.xml><?xml version="1.0" encoding="utf-8"?>
<p:tagLst xmlns:a="http://schemas.openxmlformats.org/drawingml/2006/main" xmlns:r="http://schemas.openxmlformats.org/officeDocument/2006/relationships" xmlns:p="http://schemas.openxmlformats.org/presentationml/2006/main">
  <p:tag name="COLORSETCLASSNAME" val="ColorSet2"/>
  <p:tag name="COLORS" val="-2;-2;-2;-2;-3;-2"/>
</p:tagLst>
</file>

<file path=ppt/tags/tag267.xml><?xml version="1.0" encoding="utf-8"?>
<p:tagLst xmlns:a="http://schemas.openxmlformats.org/drawingml/2006/main" xmlns:r="http://schemas.openxmlformats.org/officeDocument/2006/relationships" xmlns:p="http://schemas.openxmlformats.org/presentationml/2006/main">
  <p:tag name="COLORSETCLASSNAME" val="ColorSet2"/>
  <p:tag name="COLORS" val="-2;-2;-2;-2;-3;-2"/>
</p:tagLst>
</file>

<file path=ppt/tags/tag268.xml><?xml version="1.0" encoding="utf-8"?>
<p:tagLst xmlns:a="http://schemas.openxmlformats.org/drawingml/2006/main" xmlns:r="http://schemas.openxmlformats.org/officeDocument/2006/relationships" xmlns:p="http://schemas.openxmlformats.org/presentationml/2006/main">
  <p:tag name="COLORSETCLASSNAME" val="ColorSet2"/>
  <p:tag name="COLORS" val="-2;-2;-2;-2;-3;-2"/>
</p:tagLst>
</file>

<file path=ppt/tags/tag269.xml><?xml version="1.0" encoding="utf-8"?>
<p:tagLst xmlns:a="http://schemas.openxmlformats.org/drawingml/2006/main" xmlns:r="http://schemas.openxmlformats.org/officeDocument/2006/relationships" xmlns:p="http://schemas.openxmlformats.org/presentationml/2006/main">
  <p:tag name="FIELDS.INITIALIZED" val="1"/>
  <p:tag name="ML_1" val="RBEI_BMH"/>
  <p:tag name="ML_2" val="Bosch2.mcr"/>
  <p:tag name="ML_LAYOUT_RESOURCE" val="BOSCH2_16_9.mcr"/>
  <p:tag name="SHAPESETGROUPCLASSNAME" val="ShapeSetGroup1"/>
  <p:tag name="SHAPESETCLASSNAME" val="Object"/>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NBTXT" val="Machine learning – Algorithms cheat sheet"/>
  <p:tag name="NBTXTC" val="Machine learning – Algorithms cheat sheet"/>
  <p:tag name="AGTX" val="Machine learning – Algorithms cheat sheet"/>
  <p:tag name="AGTXC" val="Machine learning – Algorithms cheat sheet"/>
  <p:tag name="COLORSETGROUPCLASSNAME" val="ColorSetGroup4"/>
  <p:tag name="FIELD.CHAPTER.COMBOINDEX" val="0"/>
  <p:tag name="FIELD.REM_ANL.COMBOINDEX" val="0"/>
  <p:tag name="FIELD.DPT.CONTENT" val="RBEI/ENF4"/>
  <p:tag name="FIELD.DPT.VALUE" val="RBEI/ENF4 | "/>
  <p:tag name="FIELD.DPT.COMBOINDEX" val="0"/>
  <p:tag name="FIELD.CHAPTER.CONTENT" val="Machine learning @ ENF"/>
  <p:tag name="FIELD.CHAPTER.VALUE" val="Machine learning @ ENF"/>
</p:tagLst>
</file>

<file path=ppt/tags/tag2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FONTSETGROUPCLASSNAME" val="FontSetGroup1"/>
  <p:tag name="SHAPECLASSNAME" val="Chapterbox"/>
  <p:tag name="COLORSETGROUPCLASSNAME" val="ColorSetGroup4"/>
  <p:tag name="COLORS" val="-2;-2;-2;-2;-1;-2"/>
  <p:tag name="SHAPECLASSPROTECTIONTYPE" val=" 25"/>
</p:tagLst>
</file>

<file path=ppt/tags/tag27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Object"/>
  <p:tag name="FONTSETGROUPCLASSNAME" val="FontSetGroup1"/>
  <p:tag name="SHAPECLASSNAME" val="Attachment"/>
  <p:tag name="COLORSETGROUPCLASSNAME" val="ColorSetGroup4"/>
  <p:tag name="COLORS" val="-2;-2;-2;-2;-1;-2"/>
  <p:tag name="SHAPECLASSPROTECTIONTYPE" val=" 3"/>
</p:tagLst>
</file>

<file path=ppt/tags/tag27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ETCLASSNAME" val="ColorSet1"/>
  <p:tag name="MLI" val="1"/>
  <p:tag name="SHAPESETGROUPCLASSNAME" val="ShapeSetGroup1"/>
  <p:tag name="SHAPESETCLASSNAME" val="Object"/>
  <p:tag name="FONTSETGROUPCLASSNAME" val="FontSetGroup1"/>
  <p:tag name="SHAPECLASSNAME" val="tNavbar"/>
  <p:tag name="COLORSETGROUPCLASSNAME" val="ColorSetGroup4"/>
  <p:tag name="COLORS" val="-2;-2;-2;-2;-1;-2"/>
  <p:tag name="SHAPECLASSPROTECTIONTYPE" val=" 31"/>
</p:tagLst>
</file>

<file path=ppt/tags/tag27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 val="-2;-2;-2;-2;Primary;-2"/>
  <p:tag name="COLORSETCLASSNAME" val="ColorSet2"/>
  <p:tag name="MLI" val="1"/>
  <p:tag name="SHAPESETGROUPCLASSNAME" val="ShapeSetGroup1"/>
  <p:tag name="SHAPESETCLASSNAME" val="Object"/>
  <p:tag name="FONTSETGROUPCLASSNAME" val="FontSetGroup1"/>
  <p:tag name="SHAPECLASSNAME" val="TitleOnSlides"/>
  <p:tag name="COLORSETGROUPCLASSNAME" val="ColorSetGroup4"/>
  <p:tag name="FONTCOLOR" val="Primary"/>
  <p:tag name="FONTCOLOR2" val="Primary"/>
  <p:tag name="RUNS.FONT" val="2"/>
  <p:tag name="SHAPECLASSPROTECTIONTYPE" val=" 9"/>
</p:tagLst>
</file>

<file path=ppt/tags/tag27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7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7.xml><?xml version="1.0" encoding="utf-8"?>
<p:tagLst xmlns:a="http://schemas.openxmlformats.org/drawingml/2006/main" xmlns:r="http://schemas.openxmlformats.org/officeDocument/2006/relationships" xmlns:p="http://schemas.openxmlformats.org/presentationml/2006/main">
  <p:tag name="FIELD.DPT.CONTENT" val="RBEI/EST"/>
  <p:tag name="FIELD.DPT.VALUE" val="RBEI/EST | "/>
  <p:tag name="FIELDS.INITIALIZED" val="1"/>
  <p:tag name="ML_1" val="RBEI_BMH"/>
  <p:tag name="ML_2" val="Bosch2.mcr"/>
  <p:tag name="ML_LAYOUT_RESOURCE" val="BOSCH2_16_9.mcr"/>
  <p:tag name="SHAPESETGROUPCLASSNAME" val="ShapeSetGroup1"/>
  <p:tag name="SHAPESETCLASSNAME" val="TitleOnly"/>
  <p:tag name="COLORSETGROUPCLASSNAME" val="ColorSetGroup5"/>
  <p:tag name="COLORSETCLASSNAME" val="ColorSet2"/>
  <p:tag name="FONTSETGROUPCLASSNAME" val="FontSetGroup1"/>
  <p:tag name="STYLESETGROUPCLASSNAME" val="StyleSetGroup1"/>
  <p:tag name="MAPNAME" val="Map1"/>
  <p:tag name="CFG.LAYOUT" val="BOSCH2"/>
  <p:tag name="MLI" val="1"/>
  <p:tag name="TEXTBOX 2_SHAPECLASSPROTECTIONTYPE" val="31"/>
  <p:tag name="RECTANGLE 3_SHAPECLASSPROTECTIONTYPE" val="3"/>
  <p:tag name="RECTANGLE 4_SHAPECLASSPROTECTIONTYPE" val="63"/>
  <p:tag name="RECTANGLE 5_SHAPECLASSPROTECTIONTYPE" val="63"/>
  <p:tag name="RECTANGLE 6_SHAPECLASSPROTECTIONTYPE" val="63"/>
  <p:tag name="TEXTBOX 7_SHAPECLASSPROTECTIONTYPE" val="25"/>
  <p:tag name="TITLE 1_SHAPECLASSPROTECTIONTYPE" val="9"/>
  <p:tag name="PICTURE 8_SHAPECLASSPROTECTIONTYPE" val="15"/>
  <p:tag name="PICTURE 9_SHAPECLASSPROTECTIONTYPE" val="15"/>
  <p:tag name="FIELD.CHAPTER.CONTENT" val="Computer Vision Portfolio"/>
  <p:tag name="FIELD.CHAPTER.VALUE" val="Computer Vision Portfolio"/>
  <p:tag name="FIELD.CHAPTER.COMBOINDEX" val="-2"/>
  <p:tag name="FIELD.REM_ANL.COMBOINDEX" val="-2"/>
  <p:tag name="FIELD.DPT.COMBOINDEX" val="-2"/>
</p:tagLst>
</file>

<file path=ppt/tags/tag27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Supergraphic-Bottom-16-9.png"/>
  <p:tag name="MLI" val="1"/>
  <p:tag name="SHAPECLASSNAME" val="ColorBarOnSlides"/>
  <p:tag name="SHAPECLASSPROTECTIONTYPE" val="15"/>
</p:tagLst>
</file>

<file path=ppt/tags/tag279.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TitleOnly"/>
  <p:tag name="COLORSETGROUPCLASSNAME" val="ColorSetGroup5"/>
  <p:tag name="FONTSETGROUPCLASSNAME" val="FontSetGroup1"/>
  <p:tag name="SHAPECLASSNAME" val="Chapterbox"/>
  <p:tag name="SHAPECLASSPROTECTIONTYPE" val="25"/>
  <p:tag name="COLORS" val="-2;-2;-2;-2;-1;-2"/>
</p:tagLst>
</file>

<file path=ppt/tags/tag2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0.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TitleOnly"/>
  <p:tag name="COLORSETGROUPCLASSNAME" val="ColorSetGroup5"/>
  <p:tag name="FONTSETGROUPCLASSNAME" val="FontSetGroup1"/>
  <p:tag name="SHAPECLASSNAME" val="Attachment"/>
  <p:tag name="SHAPECLASSPROTECTIONTYPE" val="3"/>
  <p:tag name="COLORS" val="-2;-2;-2;-2;-1;-2"/>
</p:tagLst>
</file>

<file path=ppt/tags/tag281.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itleOnly"/>
  <p:tag name="COLORSETGROUPCLASSNAME" val="ColorSetGroup5"/>
  <p:tag name="FONTSETGROUPCLASSNAME" val="FontSetGroup1"/>
  <p:tag name="SHAPECLASSNAME" val="tNavbar"/>
  <p:tag name="SHAPECLASSPROTECTIONTYPE" val="31"/>
</p:tagLst>
</file>

<file path=ppt/tags/tag282.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TitleOnly"/>
  <p:tag name="COLORSETGROUPCLASSNAME" val="ColorSetGroup5"/>
  <p:tag name="FONTSETGROUPCLASSNAME" val="FontSetGroup1"/>
  <p:tag name="SHAPECLASSNAME" val="TitleOnSlides"/>
  <p:tag name="SHAPECLASSPROTECTIONTYPE" val="9"/>
  <p:tag name="COLORS" val="-2;-2;-2;-2;Primary;-2"/>
</p:tagLst>
</file>

<file path=ppt/tags/tag28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9.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90.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1.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2.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3.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4.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5.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COLORSETGROUPCLASSNAME" val="ColorSetGroup1"/>
  <p:tag name="FONTSETGROUPCLASSNAME" val="FontSetGroup1"/>
  <p:tag name="SHAPECLASSNAME" val="HiddenSubtitle"/>
  <p:tag name="SHAPECLASSPROTECTIONTYPE" val="0"/>
  <p:tag name="ML_SENDTOBACK" val=" 1"/>
</p:tagLst>
</file>

<file path=ppt/tags/tag3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0.xml><?xml version="1.0" encoding="utf-8"?>
<p:tagLst xmlns:a="http://schemas.openxmlformats.org/drawingml/2006/main" xmlns:r="http://schemas.openxmlformats.org/officeDocument/2006/relationships" xmlns:p="http://schemas.openxmlformats.org/presentationml/2006/main">
  <p:tag name="FIELD.DPT.CONTENT" val="RBEI/EST"/>
  <p:tag name="FIELD.DPT.VALUE" val="RBEI/EST | "/>
  <p:tag name="FIELDS.INITIALIZED" val="1"/>
  <p:tag name="ML_1" val="RBEI_BMH"/>
  <p:tag name="ML_2" val="Bosch2.mcr"/>
  <p:tag name="ML_LAYOUT_RESOURCE" val="BOSCH2_16_9.mcr"/>
  <p:tag name="SHAPESETGROUPCLASSNAME" val="ShapeSetGroup1"/>
  <p:tag name="SHAPESETCLASSNAME" val="TitleOnly"/>
  <p:tag name="COLORSETGROUPCLASSNAME" val="ColorSetGroup5"/>
  <p:tag name="COLORSETCLASSNAME" val="ColorSet2"/>
  <p:tag name="FONTSETGROUPCLASSNAME" val="FontSetGroup1"/>
  <p:tag name="STYLESETGROUPCLASSNAME" val="StyleSetGroup1"/>
  <p:tag name="MAPNAME" val="Map1"/>
  <p:tag name="CFG.LAYOUT" val="BOSCH2"/>
  <p:tag name="MLI" val="1"/>
  <p:tag name="TEXTBOX 2_SHAPECLASSPROTECTIONTYPE" val="31"/>
  <p:tag name="RECTANGLE 3_SHAPECLASSPROTECTIONTYPE" val="3"/>
  <p:tag name="RECTANGLE 4_SHAPECLASSPROTECTIONTYPE" val="63"/>
  <p:tag name="RECTANGLE 5_SHAPECLASSPROTECTIONTYPE" val="63"/>
  <p:tag name="RECTANGLE 6_SHAPECLASSPROTECTIONTYPE" val="63"/>
  <p:tag name="TEXTBOX 7_SHAPECLASSPROTECTIONTYPE" val="25"/>
  <p:tag name="TITLE 1_SHAPECLASSPROTECTIONTYPE" val="9"/>
  <p:tag name="PICTURE 8_SHAPECLASSPROTECTIONTYPE" val="15"/>
  <p:tag name="PICTURE 9_SHAPECLASSPROTECTIONTYPE" val="15"/>
  <p:tag name="FIELD.CHAPTER.CONTENT" val="Computer Vision Portfolio"/>
  <p:tag name="FIELD.CHAPTER.VALUE" val="Computer Vision Portfolio"/>
  <p:tag name="FIELD.CHAPTER.COMBOINDEX" val="-2"/>
  <p:tag name="FIELD.REM_ANL.COMBOINDEX" val="-2"/>
  <p:tag name="FIELD.DPT.COMBOINDEX" val="-2"/>
</p:tagLst>
</file>

<file path=ppt/tags/tag31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Logo2016.emf"/>
  <p:tag name="MLI" val="1"/>
  <p:tag name="SHAPECLASSNAME" val="LogoOnSlides"/>
  <p:tag name="SHAPECLASSPROTECTIONTYPE" val="15"/>
</p:tagLst>
</file>

<file path=ppt/tags/tag31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Supergraphic-Bottom-16-9.png"/>
  <p:tag name="MLI" val="1"/>
  <p:tag name="SHAPECLASSNAME" val="ColorBarOnSlides"/>
  <p:tag name="SHAPECLASSPROTECTIONTYPE" val="15"/>
</p:tagLst>
</file>

<file path=ppt/tags/tag31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TitleOnly"/>
  <p:tag name="COLORSETGROUPCLASSNAME" val="ColorSetGroup5"/>
  <p:tag name="FONTSETGROUPCLASSNAME" val="FontSetGroup1"/>
  <p:tag name="SHAPECLASSNAME" val="Chapterbox"/>
  <p:tag name="SHAPECLASSPROTECTIONTYPE" val="25"/>
  <p:tag name="COLORS" val="-2;-2;-2;-2;-1;-2"/>
</p:tagLst>
</file>

<file path=ppt/tags/tag314.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TitleOnly"/>
  <p:tag name="COLORSETGROUPCLASSNAME" val="ColorSetGroup5"/>
  <p:tag name="FONTSETGROUPCLASSNAME" val="FontSetGroup1"/>
  <p:tag name="SHAPECLASSNAME" val="Attachment"/>
  <p:tag name="SHAPECLASSPROTECTIONTYPE" val="3"/>
  <p:tag name="COLORS" val="-2;-2;-2;-2;-1;-2"/>
</p:tagLst>
</file>

<file path=ppt/tags/tag315.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itleOnly"/>
  <p:tag name="COLORSETGROUPCLASSNAME" val="ColorSetGroup5"/>
  <p:tag name="FONTSETGROUPCLASSNAME" val="FontSetGroup1"/>
  <p:tag name="SHAPECLASSNAME" val="tNavbar"/>
  <p:tag name="SHAPECLASSPROTECTIONTYPE" val="31"/>
</p:tagLst>
</file>

<file path=ppt/tags/tag31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TitleOnly"/>
  <p:tag name="COLORSETGROUPCLASSNAME" val="ColorSetGroup5"/>
  <p:tag name="FONTSETGROUPCLASSNAME" val="FontSetGroup1"/>
  <p:tag name="SHAPECLASSNAME" val="TitleOnSlides"/>
  <p:tag name="SHAPECLASSPROTECTIONTYPE" val="9"/>
  <p:tag name="COLORS" val="-2;-2;-2;-2;Primary;-2"/>
</p:tagLst>
</file>

<file path=ppt/tags/tag317.xml><?xml version="1.0" encoding="utf-8"?>
<p:tagLst xmlns:a="http://schemas.openxmlformats.org/drawingml/2006/main" xmlns:r="http://schemas.openxmlformats.org/officeDocument/2006/relationships" xmlns:p="http://schemas.openxmlformats.org/presentationml/2006/main">
  <p:tag name="FIELD.DPT.CONTENT" val="RBEI/EST"/>
  <p:tag name="FIELD.DPT.VALUE" val="RBEI/EST | "/>
  <p:tag name="FIELDS.INITIALIZED" val="1"/>
  <p:tag name="ML_1" val="RBEI_BMH"/>
  <p:tag name="ML_2" val="Bosch2.mcr"/>
  <p:tag name="ML_LAYOUT_RESOURCE" val="BOSCH2_16_9.mcr"/>
  <p:tag name="SHAPESETGROUPCLASSNAME" val="ShapeSetGroup1"/>
  <p:tag name="SHAPESETCLASSNAME" val="TitleOnly"/>
  <p:tag name="COLORSETGROUPCLASSNAME" val="ColorSetGroup5"/>
  <p:tag name="COLORSETCLASSNAME" val="ColorSet2"/>
  <p:tag name="FONTSETGROUPCLASSNAME" val="FontSetGroup1"/>
  <p:tag name="STYLESETGROUPCLASSNAME" val="StyleSetGroup1"/>
  <p:tag name="MAPNAME" val="Map1"/>
  <p:tag name="CFG.LAYOUT" val="BOSCH2"/>
  <p:tag name="MLI" val="1"/>
  <p:tag name="TEXTBOX 2_SHAPECLASSPROTECTIONTYPE" val="31"/>
  <p:tag name="RECTANGLE 3_SHAPECLASSPROTECTIONTYPE" val="3"/>
  <p:tag name="RECTANGLE 4_SHAPECLASSPROTECTIONTYPE" val="63"/>
  <p:tag name="RECTANGLE 5_SHAPECLASSPROTECTIONTYPE" val="63"/>
  <p:tag name="RECTANGLE 6_SHAPECLASSPROTECTIONTYPE" val="63"/>
  <p:tag name="TEXTBOX 7_SHAPECLASSPROTECTIONTYPE" val="25"/>
  <p:tag name="TITLE 1_SHAPECLASSPROTECTIONTYPE" val="9"/>
  <p:tag name="PICTURE 8_SHAPECLASSPROTECTIONTYPE" val="15"/>
  <p:tag name="PICTURE 9_SHAPECLASSPROTECTIONTYPE" val="15"/>
  <p:tag name="FIELD.CHAPTER.CONTENT" val="Computer Vision Portfolio"/>
  <p:tag name="FIELD.CHAPTER.VALUE" val="Computer Vision Portfolio"/>
  <p:tag name="FIELD.CHAPTER.COMBOINDEX" val="-2"/>
  <p:tag name="FIELD.REM_ANL.COMBOINDEX" val="-2"/>
  <p:tag name="FIELD.DPT.COMBOINDEX" val="-2"/>
</p:tagLst>
</file>

<file path=ppt/tags/tag31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Logo2016.emf"/>
  <p:tag name="MLI" val="1"/>
  <p:tag name="SHAPECLASSNAME" val="LogoOnSlides"/>
  <p:tag name="SHAPECLASSPROTECTIONTYPE" val="15"/>
</p:tagLst>
</file>

<file path=ppt/tags/tag31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Supergraphic-Bottom-16-9.png"/>
  <p:tag name="MLI" val="1"/>
  <p:tag name="SHAPECLASSNAME" val="ColorBarOnSlides"/>
  <p:tag name="SHAPECLASSPROTECTIONTYPE" val="15"/>
</p:tagLst>
</file>

<file path=ppt/tags/tag3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2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TitleOnly"/>
  <p:tag name="COLORSETGROUPCLASSNAME" val="ColorSetGroup5"/>
  <p:tag name="FONTSETGROUPCLASSNAME" val="FontSetGroup1"/>
  <p:tag name="SHAPECLASSNAME" val="Chapterbox"/>
  <p:tag name="SHAPECLASSPROTECTIONTYPE" val="25"/>
  <p:tag name="COLORS" val="-2;-2;-2;-2;-1;-2"/>
</p:tagLst>
</file>

<file path=ppt/tags/tag32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TitleOnly"/>
  <p:tag name="COLORSETGROUPCLASSNAME" val="ColorSetGroup5"/>
  <p:tag name="FONTSETGROUPCLASSNAME" val="FontSetGroup1"/>
  <p:tag name="SHAPECLASSNAME" val="Attachment"/>
  <p:tag name="SHAPECLASSPROTECTIONTYPE" val="3"/>
  <p:tag name="COLORS" val="-2;-2;-2;-2;-1;-2"/>
</p:tagLst>
</file>

<file path=ppt/tags/tag32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itleOnly"/>
  <p:tag name="COLORSETGROUPCLASSNAME" val="ColorSetGroup5"/>
  <p:tag name="FONTSETGROUPCLASSNAME" val="FontSetGroup1"/>
  <p:tag name="SHAPECLASSNAME" val="tNavbar"/>
  <p:tag name="SHAPECLASSPROTECTIONTYPE" val="31"/>
</p:tagLst>
</file>

<file path=ppt/tags/tag32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TitleOnly"/>
  <p:tag name="COLORSETGROUPCLASSNAME" val="ColorSetGroup5"/>
  <p:tag name="FONTSETGROUPCLASSNAME" val="FontSetGroup1"/>
  <p:tag name="SHAPECLASSNAME" val="TitleOnSlides"/>
  <p:tag name="SHAPECLASSPROTECTIONTYPE" val="9"/>
  <p:tag name="COLORS" val="-2;-2;-2;-2;Primary;-2"/>
</p:tagLst>
</file>

<file path=ppt/tags/tag32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 name="K_DONE" val="1"/>
</p:tagLst>
</file>

<file path=ppt/tags/tag32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 name="K_DONE" val="1"/>
</p:tagLst>
</file>

<file path=ppt/tags/tag326.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327.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32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29.xml><?xml version="1.0" encoding="utf-8"?>
<p:tagLst xmlns:a="http://schemas.openxmlformats.org/drawingml/2006/main" xmlns:r="http://schemas.openxmlformats.org/officeDocument/2006/relationships" xmlns:p="http://schemas.openxmlformats.org/presentationml/2006/main">
  <p:tag name="COLORSETCLASSNAME" val="ColorSet1"/>
  <p:tag name="COLORS" val="-2;-2;Black;White;-1;-2"/>
</p:tagLst>
</file>

<file path=ppt/tags/tag3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0.xml><?xml version="1.0" encoding="utf-8"?>
<p:tagLst xmlns:a="http://schemas.openxmlformats.org/drawingml/2006/main" xmlns:r="http://schemas.openxmlformats.org/officeDocument/2006/relationships" xmlns:p="http://schemas.openxmlformats.org/presentationml/2006/main">
  <p:tag name="FIELDS.INITIALIZED" val="1"/>
  <p:tag name="ML_1" val="RBEI_Kor"/>
  <p:tag name="ML_2" val="Bosch2.mcr"/>
  <p:tag name="ML_LAYOUT_RESOURCE" val="BOSCH2_16_9.mcr"/>
  <p:tag name="SHAPESETGROUPCLASSNAME" val="ShapeSetGroup1"/>
  <p:tag name="SHAPESETCLASSNAME" val="Object"/>
  <p:tag name="COLORSETGROUPCLASSNAME" val="ColorSetGroup3"/>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CONTENT PLACEHOLDER 11_SHAPECLASSPROTECTIONTYPE" val="0"/>
  <p:tag name="PICTURE 10_SHAPECLASSPROTECTIONTYPE" val="15"/>
  <p:tag name="CONTENT PLACEHOLDER 14_SHAPECLASSPROTECTIONTYPE" val="0"/>
  <p:tag name="PICTURE 13_SHAPECLASSPROTECTIONTYPE" val="15"/>
  <p:tag name="FIELD.CHAPTER.COMBOINDEX" val="-2"/>
  <p:tag name="FIELD.REM_ANL.COMBOINDEX" val="-2"/>
  <p:tag name="FIELD.DPT.COMBOINDEX" val="-2"/>
  <p:tag name="FIELD.CHAPTER.CONTENT" val="Smart Agriculture solutions"/>
  <p:tag name="FIELD.CHAPTER.VALUE" val="Smart Agriculture solutions"/>
  <p:tag name="FIELD.DPT.CONTENT" val="RBEI/EBD"/>
  <p:tag name="FIELD.DPT.VALUE" val="RBEI/EBD | "/>
</p:tagLst>
</file>

<file path=ppt/tags/tag33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3"/>
  <p:tag name="FONTSETGROUPCLASSNAME" val="FontSetGroup1"/>
  <p:tag name="SHAPECLASSNAME" val="Attachment"/>
  <p:tag name="SHAPECLASSPROTECTIONTYPE" val="3"/>
</p:tagLst>
</file>

<file path=ppt/tags/tag33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3"/>
  <p:tag name="FONTSETGROUPCLASSNAME" val="FontSetGroup1"/>
  <p:tag name="SHAPECLASSNAME" val="tNavbar"/>
  <p:tag name="SHAPECLASSPROTECTIONTYPE" val="31"/>
</p:tagLst>
</file>

<file path=ppt/tags/tag33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3"/>
  <p:tag name="FONTSETGROUPCLASSNAME" val="FontSetGroup1"/>
  <p:tag name="SHAPECLASSNAME" val="TitleOnSlides"/>
  <p:tag name="SHAPECLASSPROTECTIONTYPE" val="9"/>
  <p:tag name="COLORS" val="-2;-2;-2;-2;-1;-2"/>
</p:tagLst>
</file>

<file path=ppt/tags/tag334.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3"/>
  <p:tag name="FONTSETGROUPCLASSNAME" val="FontSetGroup1"/>
  <p:tag name="SHAPECLASSNAME" val="Chapterbox"/>
  <p:tag name="SHAPECLASSPROTECTIONTYPE" val="25"/>
  <p:tag name="COLORS" val="-2;-2;-2;-2;-1;-2"/>
</p:tagLst>
</file>

<file path=ppt/tags/tag33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33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33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1.xml><?xml version="1.0" encoding="utf-8"?>
<p:tagLst xmlns:a="http://schemas.openxmlformats.org/drawingml/2006/main" xmlns:r="http://schemas.openxmlformats.org/officeDocument/2006/relationships" xmlns:p="http://schemas.openxmlformats.org/presentationml/2006/main">
  <p:tag name="FIELD.CHAPTER.CONTENT" val="Robert Bosch Engineering and Business Solutions"/>
  <p:tag name="FIELD.CHAPTER.VALUE" val="Robert Bosch Engineering and Business Solutions"/>
  <p:tag name="FIELD.DPT.CONTENT" val="SAM-MKT"/>
  <p:tag name="FIELD.DPT.VALUE" val="SAM-MKT | "/>
  <p:tag name="FIELDS.INITIALIZED" val="1"/>
  <p:tag name="ML_1" val="RBEI_Kor"/>
  <p:tag name="ML_2" val="Bosch2.mcr"/>
  <p:tag name="ML_LAYOUT_RESOURCE" val="BOSCH2_16_9.mcr"/>
  <p:tag name="SHAPESETGROUPCLASSNAME" val="ShapeSetGroup1"/>
  <p:tag name="SHAPESETCLASSNAME" val="EndSlide"/>
  <p:tag name="COLORSETGROUPCLASSNAME" val="ColorSetGroup1"/>
  <p:tag name="COLORSETCLASSNAME" val="ColorSet2"/>
  <p:tag name="FONTSETGROUPCLASSNAME" val="FontSetGroup1"/>
  <p:tag name="STYLESETGROUPCLASSNAME" val="StyleSetGroup1"/>
  <p:tag name="MAPNAME" val="Map1"/>
  <p:tag name="CFG.LAYOUT" val="BOSCH2"/>
  <p:tag name="MLI" val="1"/>
  <p:tag name="PICTURE 3_SHAPECLASSPROTECTIONTYPE" val="15"/>
  <p:tag name="PICTURE 4_SHAPECLASSPROTECTIONTYPE" val="15"/>
  <p:tag name="SUBTITLE 1_SHAPECLASSPROTECTIONTYPE" val="0"/>
  <p:tag name="TITLE 2_SHAPECLASSPROTECTIONTYPE" val="3"/>
  <p:tag name="PICTURE 5_SHAPECLASSPROTECTIONTYPE" val="15"/>
  <p:tag name="COMPRESSOR_INCLUDE" val="1"/>
  <p:tag name="NBTXT" val="Contact Us"/>
  <p:tag name="NBTXTC" val="Contact Us"/>
  <p:tag name="AGTX" val="Contact Us"/>
  <p:tag name="AGTXC" val="Contact Us"/>
</p:tagLst>
</file>

<file path=ppt/tags/tag34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EndSlide"/>
  <p:tag name="COLORSETGROUPCLASSNAME" val="ColorSetGroup1"/>
  <p:tag name="FONTSETGROUPCLASSNAME" val="FontSetGroup1"/>
  <p:tag name="SHAPECLASSFILE" val="Bosch-Supergraphic-Light-Gray-16-9.png"/>
  <p:tag name="MLI" val="1"/>
  <p:tag name="SHAPECLASSNAME" val="SupergraphicGray"/>
  <p:tag name="SHAPECLASSPROTECTIONTYPE" val="15"/>
</p:tagLst>
</file>

<file path=ppt/tags/tag343.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EndSlide"/>
  <p:tag name="COLORSETGROUPCLASSNAME" val="ColorSetGroup1"/>
  <p:tag name="FONTSETGROUPCLASSNAME" val="FontSetGroup1"/>
  <p:tag name="SHAPECLASSNAME" val="HiddenSubtitle"/>
  <p:tag name="SHAPECLASSPROTECTIONTYPE" val="0"/>
  <p:tag name="ML_SENDTOBACK" val=" 1"/>
</p:tagLst>
</file>

<file path=ppt/tags/tag34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EndSlide"/>
  <p:tag name="COLORSETGROUPCLASSNAME" val="ColorSetGroup1"/>
  <p:tag name="FONTSETGROUPCLASSNAME" val="FontSetGroup1"/>
  <p:tag name="SHAPECLASSFILE" val="BoschLogo2016.emf"/>
  <p:tag name="MLI" val="1"/>
  <p:tag name="SHAPECLASSNAME" val="LogoOnSlides"/>
  <p:tag name="SHAPECLASSPROTECTIONTYPE" val="15"/>
</p:tagLst>
</file>

<file path=ppt/tags/tag34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EndSlide"/>
  <p:tag name="COLORSETGROUPCLASSNAME" val="ColorSetGroup1"/>
  <p:tag name="FONTSETGROUPCLASSNAME" val="FontSetGroup1"/>
  <p:tag name="SHAPECLASSFILE" val="Bosch-Symbol-Logotype-Supergraphic.png"/>
  <p:tag name="MLI" val="1"/>
  <p:tag name="SHAPECLASSNAME" val="ColorBarOnTitleSlides"/>
  <p:tag name="SHAPECLASSPROTECTIONTYPE" val="15"/>
</p:tagLst>
</file>

<file path=ppt/tags/tag346.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ETCLASSNAME" val="ColorSet1"/>
  <p:tag name="MLI" val="1"/>
  <p:tag name="SHAPESETGROUPCLASSNAME" val="ShapeSetGroup1"/>
  <p:tag name="SHAPESETCLASSNAME" val="EndSlide"/>
  <p:tag name="COLORSETGROUPCLASSNAME" val="ColorSetGroup1"/>
  <p:tag name="FONTSETGROUPCLASSNAME" val="FontSetGroup1"/>
  <p:tag name="SHAPECLASSNAME" val="TextOnEndSlide"/>
  <p:tag name="SHAPECLASSPROTECTIONTYPE" val="3"/>
  <p:tag name="COLORS" val="-2;-2;-2;-2;-1;-2"/>
</p:tagLst>
</file>

<file path=ppt/tags/tag347.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ETCLASSNAME" val="ColorSet1"/>
  <p:tag name="MLI" val="1"/>
  <p:tag name="SHAPESETGROUPCLASSNAME" val="ShapeSetGroup1"/>
  <p:tag name="SHAPESETCLASSNAME" val="EndSlide"/>
  <p:tag name="COLORSETGROUPCLASSNAME" val="ColorSetGroup1"/>
  <p:tag name="FONTSETGROUPCLASSNAME" val="FontSetGroup1"/>
  <p:tag name="SHAPECLASSNAME" val="TextOnEndSlide"/>
  <p:tag name="SHAPECLASSPROTECTIONTYPE" val="3"/>
  <p:tag name="COLORS" val="-2;-2;-2;-2;-1;-2"/>
</p:tagLst>
</file>

<file path=ppt/tags/tag3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COLORSETGROUPCLASSNAME" val="ColorSetGroup1"/>
  <p:tag name="FONTSETGROUPCLASSNAME" val="FontSetGroup1"/>
  <p:tag name="SHAPECLASSNAME" val="TitleOnTitleSlides"/>
  <p:tag name="SHAPECLASSPROTECTIONTYPE" val="3"/>
</p:tagLst>
</file>

<file path=ppt/tags/tag4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5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COLORSETGROUPCLASSNAME" val="ColorSetGroup1"/>
  <p:tag name="FONTSETGROUPCLASSNAME" val="FontSetGroup1"/>
  <p:tag name="SHAPECLASSNAME" val="HiddenSubtitle"/>
  <p:tag name="SHAPECLASSPROTECTIONTYPE" val="0"/>
  <p:tag name="ML_SENDTOBACK" val=" 1"/>
</p:tagLst>
</file>

<file path=ppt/tags/tag7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COLORSETGROUPCLASSNAME" val="ColorSetGroup1"/>
  <p:tag name="FONTSETGROUPCLASSNAME" val="FontSetGroup1"/>
  <p:tag name="SHAPECLASSNAME" val="TitleOnTitleSlides"/>
  <p:tag name="SHAPECLASSPROTECTIONTYPE" val="3"/>
</p:tagLst>
</file>

<file path=ppt/tags/tag8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Logo2016.emf"/>
  <p:tag name="MLI" val="1"/>
  <p:tag name="SHAPECLASSNAME" val="LogoOnSlides"/>
  <p:tag name="SHAPECLASSPROTECTIONTYPE" val="15"/>
</p:tagLst>
</file>

<file path=ppt/tags/tag9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97.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2;-2;-1;-2"/>
</p:tagLst>
</file>

<file path=ppt/tags/tag99.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ct val="107000"/>
          </a:lnSpc>
          <a:spcBef>
            <a:spcPts val="500"/>
          </a:spcBef>
          <a:spcAft>
            <a:spcPts val="0"/>
          </a:spcAft>
          <a:buClrTx/>
          <a:buSzTx/>
          <a:buFontTx/>
          <a:buNone/>
          <a:tabLst/>
          <a:defRPr kumimoji="0" sz="1800" b="0" i="0" u="none" strike="noStrike" kern="0" cap="none" spc="0" normalizeH="0" baseline="0" noProof="0" dirty="0" err="1"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E6E424A2-CDFE-4FF3-B632-69E2B49B4471}" vid="{8DB00A46-DBD2-41A3-9952-545226F8B356}"/>
    </a:ext>
  </a:extLst>
</a:theme>
</file>

<file path=ppt/theme/theme3.xml><?xml version="1.0" encoding="utf-8"?>
<a:theme xmlns:a="http://schemas.openxmlformats.org/drawingml/2006/main" name="1_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ct val="107000"/>
          </a:lnSpc>
          <a:spcBef>
            <a:spcPts val="500"/>
          </a:spcBef>
          <a:spcAft>
            <a:spcPts val="0"/>
          </a:spcAft>
          <a:buClrTx/>
          <a:buSzTx/>
          <a:buFontTx/>
          <a:buNone/>
          <a:tabLst/>
          <a:defRPr kumimoji="0" sz="1800" b="0" i="0" u="none" strike="noStrike" kern="0" cap="none" spc="0" normalizeH="0" baseline="0" noProof="0" dirty="0" err="1"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E6E424A2-CDFE-4FF3-B632-69E2B49B4471}" vid="{8DB00A46-DBD2-41A3-9952-545226F8B356}"/>
    </a:ext>
  </a:extLst>
</a:theme>
</file>

<file path=ppt/theme/theme4.xml><?xml version="1.0" encoding="utf-8"?>
<a:theme xmlns:a="http://schemas.openxmlformats.org/drawingml/2006/main" name="2_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A7DDA6D0-2413-4F37-A2A5-774D3A1A63D6}" vid="{B4765207-DB29-40C2-99DC-9656F4B761D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211</Words>
  <Application>Microsoft Office PowerPoint</Application>
  <PresentationFormat>Widescreen</PresentationFormat>
  <Paragraphs>226</Paragraphs>
  <Slides>16</Slides>
  <Notes>1</Notes>
  <HiddenSlides>0</HiddenSlides>
  <MMClips>0</MMClips>
  <ScaleCrop>false</ScaleCrop>
  <HeadingPairs>
    <vt:vector size="6" baseType="variant">
      <vt:variant>
        <vt:lpstr>Fonts Used</vt:lpstr>
      </vt:variant>
      <vt:variant>
        <vt:i4>9</vt:i4>
      </vt:variant>
      <vt:variant>
        <vt:lpstr>Theme</vt:lpstr>
      </vt:variant>
      <vt:variant>
        <vt:i4>4</vt:i4>
      </vt:variant>
      <vt:variant>
        <vt:lpstr>Slide Titles</vt:lpstr>
      </vt:variant>
      <vt:variant>
        <vt:i4>16</vt:i4>
      </vt:variant>
    </vt:vector>
  </HeadingPairs>
  <TitlesOfParts>
    <vt:vector size="29" baseType="lpstr">
      <vt:lpstr>Arial</vt:lpstr>
      <vt:lpstr>Arial Black</vt:lpstr>
      <vt:lpstr>Bosch Office Sans</vt:lpstr>
      <vt:lpstr>Calibri</vt:lpstr>
      <vt:lpstr>Calibri Light</vt:lpstr>
      <vt:lpstr>Source Sans Pro</vt:lpstr>
      <vt:lpstr>Times New Roman</vt:lpstr>
      <vt:lpstr>Wingdings</vt:lpstr>
      <vt:lpstr>Wingdings 3</vt:lpstr>
      <vt:lpstr>1_Office Theme</vt:lpstr>
      <vt:lpstr>Bosch</vt:lpstr>
      <vt:lpstr>1_Bosch</vt:lpstr>
      <vt:lpstr>2_Bosch</vt:lpstr>
      <vt:lpstr>PowerPoint Presentation</vt:lpstr>
      <vt:lpstr>Visual Computing for Advanced OCR: Problem Statement</vt:lpstr>
      <vt:lpstr>Visual Computing for Advanced OCR: Approaches</vt:lpstr>
      <vt:lpstr>Visual Computing for Advanced OCR: Workflow</vt:lpstr>
      <vt:lpstr>Visual Computing for Advanced OCR: Training and Testing</vt:lpstr>
      <vt:lpstr>Team at a Glance</vt:lpstr>
      <vt:lpstr>Computer Vision Portfolio - Landscape of Competencies</vt:lpstr>
      <vt:lpstr>Intelligent image processing, ML based classification</vt:lpstr>
      <vt:lpstr>Application in Diabetic Retinopathy</vt:lpstr>
      <vt:lpstr>Automated Store Management: AI Solution utilizing Vision and RFID Data</vt:lpstr>
      <vt:lpstr>Crack detection of a sensor (O2 Lambda Sensor)</vt:lpstr>
      <vt:lpstr>Automotive uses-cases</vt:lpstr>
      <vt:lpstr>In-Car Entertainment &amp; Safety</vt:lpstr>
      <vt:lpstr>Infrastructure, Urban Planning</vt:lpstr>
      <vt:lpstr>Drone-based image analytics: blueberry counting</vt:lpstr>
      <vt:lpstr>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ishwarya Prakash</dc:creator>
  <cp:lastModifiedBy>Bijon Guha (RBEI/EDS2)</cp:lastModifiedBy>
  <cp:revision>446</cp:revision>
  <dcterms:created xsi:type="dcterms:W3CDTF">2018-11-13T07:16:26Z</dcterms:created>
  <dcterms:modified xsi:type="dcterms:W3CDTF">2019-09-24T13:06:50Z</dcterms:modified>
</cp:coreProperties>
</file>